
<file path=[Content_Types].xml><?xml version="1.0" encoding="utf-8"?>
<Types xmlns="http://schemas.openxmlformats.org/package/2006/content-types">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9"/>
  </p:notesMasterIdLst>
  <p:handoutMasterIdLst>
    <p:handoutMasterId r:id="rId20"/>
  </p:handoutMasterIdLst>
  <p:sldIdLst>
    <p:sldId id="312" r:id="rId5"/>
    <p:sldId id="316" r:id="rId6"/>
    <p:sldId id="330" r:id="rId7"/>
    <p:sldId id="264" r:id="rId8"/>
    <p:sldId id="337" r:id="rId9"/>
    <p:sldId id="331" r:id="rId10"/>
    <p:sldId id="320" r:id="rId11"/>
    <p:sldId id="305" r:id="rId12"/>
    <p:sldId id="263" r:id="rId13"/>
    <p:sldId id="332" r:id="rId14"/>
    <p:sldId id="333" r:id="rId15"/>
    <p:sldId id="335" r:id="rId16"/>
    <p:sldId id="336" r:id="rId17"/>
    <p:sldId id="338"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CE5EF"/>
    <a:srgbClr val="D2EADB"/>
    <a:srgbClr val="DC48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9" autoAdjust="0"/>
    <p:restoredTop sz="94717" autoAdjust="0"/>
  </p:normalViewPr>
  <p:slideViewPr>
    <p:cSldViewPr snapToGrid="0">
      <p:cViewPr varScale="1">
        <p:scale>
          <a:sx n="113" d="100"/>
          <a:sy n="113" d="100"/>
        </p:scale>
        <p:origin x="510" y="102"/>
      </p:cViewPr>
      <p:guideLst/>
    </p:cSldViewPr>
  </p:slideViewPr>
  <p:outlineViewPr>
    <p:cViewPr>
      <p:scale>
        <a:sx n="33" d="100"/>
        <a:sy n="33" d="100"/>
      </p:scale>
      <p:origin x="0" y="-3480"/>
    </p:cViewPr>
  </p:outlineViewPr>
  <p:notesTextViewPr>
    <p:cViewPr>
      <p:scale>
        <a:sx n="1" d="1"/>
        <a:sy n="1" d="1"/>
      </p:scale>
      <p:origin x="0" y="0"/>
    </p:cViewPr>
  </p:notesTextViewPr>
  <p:sorterViewPr>
    <p:cViewPr>
      <p:scale>
        <a:sx n="100" d="100"/>
        <a:sy n="100" d="100"/>
      </p:scale>
      <p:origin x="0" y="-1522"/>
    </p:cViewPr>
  </p:sorterViewPr>
  <p:notesViewPr>
    <p:cSldViewPr snapToGrid="0">
      <p:cViewPr varScale="1">
        <p:scale>
          <a:sx n="62" d="100"/>
          <a:sy n="62" d="100"/>
        </p:scale>
        <p:origin x="2266" y="7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ED7A934-0635-4E76-95FD-43993B1828C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D43A72F8-57B8-4FBF-B54E-88A861E91D4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F273EFC-B541-4D39-ACAE-B43588005231}" type="datetimeFigureOut">
              <a:rPr lang="en-US" smtClean="0"/>
              <a:t>8/25/2023</a:t>
            </a:fld>
            <a:endParaRPr lang="en-US" dirty="0"/>
          </a:p>
        </p:txBody>
      </p:sp>
      <p:sp>
        <p:nvSpPr>
          <p:cNvPr id="4" name="Footer Placeholder 3">
            <a:extLst>
              <a:ext uri="{FF2B5EF4-FFF2-40B4-BE49-F238E27FC236}">
                <a16:creationId xmlns:a16="http://schemas.microsoft.com/office/drawing/2014/main" id="{604A6038-4A3D-4CE4-A3B5-D6E97612120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0D286FF7-47DD-4A75-85A8-6445E3411EA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98FC685-2169-447E-B5F0-6D799AEBC20E}" type="slidenum">
              <a:rPr lang="en-US" smtClean="0"/>
              <a:t>‹#›</a:t>
            </a:fld>
            <a:endParaRPr lang="en-US" dirty="0"/>
          </a:p>
        </p:txBody>
      </p:sp>
    </p:spTree>
    <p:extLst>
      <p:ext uri="{BB962C8B-B14F-4D97-AF65-F5344CB8AC3E}">
        <p14:creationId xmlns:p14="http://schemas.microsoft.com/office/powerpoint/2010/main" val="3557255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0853E1-56A0-44E9-A74E-5E9F6164A239}" type="datetimeFigureOut">
              <a:rPr lang="en-US" smtClean="0"/>
              <a:t>8/25/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926890-3464-4466-B789-5BB6DD4ADC9C}" type="slidenum">
              <a:rPr lang="en-US" smtClean="0"/>
              <a:t>‹#›</a:t>
            </a:fld>
            <a:endParaRPr lang="en-US" dirty="0"/>
          </a:p>
        </p:txBody>
      </p:sp>
    </p:spTree>
    <p:extLst>
      <p:ext uri="{BB962C8B-B14F-4D97-AF65-F5344CB8AC3E}">
        <p14:creationId xmlns:p14="http://schemas.microsoft.com/office/powerpoint/2010/main" val="31294772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926890-3464-4466-B789-5BB6DD4ADC9C}" type="slidenum">
              <a:rPr lang="en-US" smtClean="0"/>
              <a:t>1</a:t>
            </a:fld>
            <a:endParaRPr lang="en-US" dirty="0"/>
          </a:p>
        </p:txBody>
      </p:sp>
    </p:spTree>
    <p:extLst>
      <p:ext uri="{BB962C8B-B14F-4D97-AF65-F5344CB8AC3E}">
        <p14:creationId xmlns:p14="http://schemas.microsoft.com/office/powerpoint/2010/main" val="3110754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926890-3464-4466-B789-5BB6DD4ADC9C}" type="slidenum">
              <a:rPr lang="en-US" smtClean="0"/>
              <a:t>10</a:t>
            </a:fld>
            <a:endParaRPr lang="en-US" dirty="0"/>
          </a:p>
        </p:txBody>
      </p:sp>
    </p:spTree>
    <p:extLst>
      <p:ext uri="{BB962C8B-B14F-4D97-AF65-F5344CB8AC3E}">
        <p14:creationId xmlns:p14="http://schemas.microsoft.com/office/powerpoint/2010/main" val="21021253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926890-3464-4466-B789-5BB6DD4ADC9C}" type="slidenum">
              <a:rPr lang="en-US" smtClean="0"/>
              <a:t>11</a:t>
            </a:fld>
            <a:endParaRPr lang="en-US" dirty="0"/>
          </a:p>
        </p:txBody>
      </p:sp>
    </p:spTree>
    <p:extLst>
      <p:ext uri="{BB962C8B-B14F-4D97-AF65-F5344CB8AC3E}">
        <p14:creationId xmlns:p14="http://schemas.microsoft.com/office/powerpoint/2010/main" val="42517758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251742-F350-4E0A-882E-44E34E005E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67823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251742-F350-4E0A-882E-44E34E005E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1323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251742-F350-4E0A-882E-44E34E005E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66824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251742-F350-4E0A-882E-44E34E005E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12124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002DED-DCF6-428F-92AB-AA8ACCA0B3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18343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002DED-DCF6-428F-92AB-AA8ACCA0B3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28088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926890-3464-4466-B789-5BB6DD4ADC9C}" type="slidenum">
              <a:rPr lang="en-US" smtClean="0"/>
              <a:t>6</a:t>
            </a:fld>
            <a:endParaRPr lang="en-US" dirty="0"/>
          </a:p>
        </p:txBody>
      </p:sp>
    </p:spTree>
    <p:extLst>
      <p:ext uri="{BB962C8B-B14F-4D97-AF65-F5344CB8AC3E}">
        <p14:creationId xmlns:p14="http://schemas.microsoft.com/office/powerpoint/2010/main" val="13694248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251742-F350-4E0A-882E-44E34E005E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18725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251742-F350-4E0A-882E-44E34E005E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55920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002DED-DCF6-428F-92AB-AA8ACCA0B3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15350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74" name="Freeform: Shape 73">
            <a:extLst>
              <a:ext uri="{FF2B5EF4-FFF2-40B4-BE49-F238E27FC236}">
                <a16:creationId xmlns:a16="http://schemas.microsoft.com/office/drawing/2014/main" id="{232146ED-1740-4E0E-8996-4B5179214354}"/>
              </a:ext>
              <a:ext uri="{C183D7F6-B498-43B3-948B-1728B52AA6E4}">
                <adec:decorative xmlns:adec="http://schemas.microsoft.com/office/drawing/2017/decorative" val="1"/>
              </a:ext>
            </a:extLst>
          </p:cNvPr>
          <p:cNvSpPr/>
          <p:nvPr userDrawn="1"/>
        </p:nvSpPr>
        <p:spPr>
          <a:xfrm>
            <a:off x="3" y="2"/>
            <a:ext cx="2134216" cy="2258161"/>
          </a:xfrm>
          <a:custGeom>
            <a:avLst/>
            <a:gdLst>
              <a:gd name="connsiteX0" fmla="*/ 2292284 w 3871489"/>
              <a:gd name="connsiteY0" fmla="*/ 0 h 4096327"/>
              <a:gd name="connsiteX1" fmla="*/ 3500914 w 3871489"/>
              <a:gd name="connsiteY1" fmla="*/ 0 h 4096327"/>
              <a:gd name="connsiteX2" fmla="*/ 3542229 w 3871489"/>
              <a:gd name="connsiteY2" fmla="*/ 68006 h 4096327"/>
              <a:gd name="connsiteX3" fmla="*/ 3871489 w 3871489"/>
              <a:gd name="connsiteY3" fmla="*/ 1368323 h 4096327"/>
              <a:gd name="connsiteX4" fmla="*/ 1143485 w 3871489"/>
              <a:gd name="connsiteY4" fmla="*/ 4096327 h 4096327"/>
              <a:gd name="connsiteX5" fmla="*/ 81633 w 3871489"/>
              <a:gd name="connsiteY5" fmla="*/ 3881944 h 4096327"/>
              <a:gd name="connsiteX6" fmla="*/ 0 w 3871489"/>
              <a:gd name="connsiteY6" fmla="*/ 3842618 h 4096327"/>
              <a:gd name="connsiteX7" fmla="*/ 0 w 3871489"/>
              <a:gd name="connsiteY7" fmla="*/ 2741475 h 4096327"/>
              <a:gd name="connsiteX8" fmla="*/ 6615 w 3871489"/>
              <a:gd name="connsiteY8" fmla="*/ 2747487 h 4096327"/>
              <a:gd name="connsiteX9" fmla="*/ 1143485 w 3871489"/>
              <a:gd name="connsiteY9" fmla="*/ 3155655 h 4096327"/>
              <a:gd name="connsiteX10" fmla="*/ 2930817 w 3871489"/>
              <a:gd name="connsiteY10" fmla="*/ 1368323 h 4096327"/>
              <a:gd name="connsiteX11" fmla="*/ 2407287 w 3871489"/>
              <a:gd name="connsiteY11" fmla="*/ 104524 h 409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71489" h="4096327">
                <a:moveTo>
                  <a:pt x="2292284" y="0"/>
                </a:moveTo>
                <a:lnTo>
                  <a:pt x="3500914" y="0"/>
                </a:lnTo>
                <a:lnTo>
                  <a:pt x="3542229" y="68006"/>
                </a:lnTo>
                <a:cubicBezTo>
                  <a:pt x="3752213" y="454545"/>
                  <a:pt x="3871489" y="897507"/>
                  <a:pt x="3871489" y="1368323"/>
                </a:cubicBezTo>
                <a:cubicBezTo>
                  <a:pt x="3871489" y="2874936"/>
                  <a:pt x="2650098" y="4096327"/>
                  <a:pt x="1143485" y="4096327"/>
                </a:cubicBezTo>
                <a:cubicBezTo>
                  <a:pt x="766832" y="4096327"/>
                  <a:pt x="408006" y="4019990"/>
                  <a:pt x="81633" y="3881944"/>
                </a:cubicBezTo>
                <a:lnTo>
                  <a:pt x="0" y="3842618"/>
                </a:lnTo>
                <a:lnTo>
                  <a:pt x="0" y="2741475"/>
                </a:lnTo>
                <a:lnTo>
                  <a:pt x="6615" y="2747487"/>
                </a:lnTo>
                <a:cubicBezTo>
                  <a:pt x="315579" y="3002472"/>
                  <a:pt x="711663" y="3155655"/>
                  <a:pt x="1143485" y="3155655"/>
                </a:cubicBezTo>
                <a:cubicBezTo>
                  <a:pt x="2130515" y="3155655"/>
                  <a:pt x="2930817" y="2355353"/>
                  <a:pt x="2930817" y="1368323"/>
                </a:cubicBezTo>
                <a:cubicBezTo>
                  <a:pt x="2930817" y="874812"/>
                  <a:pt x="2730741" y="427979"/>
                  <a:pt x="2407287" y="104524"/>
                </a:cubicBezTo>
                <a:close/>
              </a:path>
            </a:pathLst>
          </a:cu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1"/>
              </a:solidFill>
            </a:endParaRPr>
          </a:p>
        </p:txBody>
      </p:sp>
      <p:sp>
        <p:nvSpPr>
          <p:cNvPr id="75" name="Freeform: Shape 74">
            <a:extLst>
              <a:ext uri="{FF2B5EF4-FFF2-40B4-BE49-F238E27FC236}">
                <a16:creationId xmlns:a16="http://schemas.microsoft.com/office/drawing/2014/main" id="{5C431250-2534-41F8-915B-18FCC65650FB}"/>
              </a:ext>
              <a:ext uri="{C183D7F6-B498-43B3-948B-1728B52AA6E4}">
                <adec:decorative xmlns:adec="http://schemas.microsoft.com/office/drawing/2017/decorative" val="1"/>
              </a:ext>
            </a:extLst>
          </p:cNvPr>
          <p:cNvSpPr/>
          <p:nvPr userDrawn="1"/>
        </p:nvSpPr>
        <p:spPr>
          <a:xfrm>
            <a:off x="3" y="2"/>
            <a:ext cx="2134216" cy="2258161"/>
          </a:xfrm>
          <a:custGeom>
            <a:avLst/>
            <a:gdLst>
              <a:gd name="connsiteX0" fmla="*/ 2292284 w 3871489"/>
              <a:gd name="connsiteY0" fmla="*/ 0 h 4096327"/>
              <a:gd name="connsiteX1" fmla="*/ 3500914 w 3871489"/>
              <a:gd name="connsiteY1" fmla="*/ 0 h 4096327"/>
              <a:gd name="connsiteX2" fmla="*/ 3542229 w 3871489"/>
              <a:gd name="connsiteY2" fmla="*/ 68006 h 4096327"/>
              <a:gd name="connsiteX3" fmla="*/ 3871489 w 3871489"/>
              <a:gd name="connsiteY3" fmla="*/ 1368323 h 4096327"/>
              <a:gd name="connsiteX4" fmla="*/ 1143485 w 3871489"/>
              <a:gd name="connsiteY4" fmla="*/ 4096327 h 4096327"/>
              <a:gd name="connsiteX5" fmla="*/ 81633 w 3871489"/>
              <a:gd name="connsiteY5" fmla="*/ 3881944 h 4096327"/>
              <a:gd name="connsiteX6" fmla="*/ 0 w 3871489"/>
              <a:gd name="connsiteY6" fmla="*/ 3842618 h 4096327"/>
              <a:gd name="connsiteX7" fmla="*/ 0 w 3871489"/>
              <a:gd name="connsiteY7" fmla="*/ 2741475 h 4096327"/>
              <a:gd name="connsiteX8" fmla="*/ 6615 w 3871489"/>
              <a:gd name="connsiteY8" fmla="*/ 2747487 h 4096327"/>
              <a:gd name="connsiteX9" fmla="*/ 1143485 w 3871489"/>
              <a:gd name="connsiteY9" fmla="*/ 3155655 h 4096327"/>
              <a:gd name="connsiteX10" fmla="*/ 2930817 w 3871489"/>
              <a:gd name="connsiteY10" fmla="*/ 1368323 h 4096327"/>
              <a:gd name="connsiteX11" fmla="*/ 2407287 w 3871489"/>
              <a:gd name="connsiteY11" fmla="*/ 104524 h 409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71489" h="4096327">
                <a:moveTo>
                  <a:pt x="2292284" y="0"/>
                </a:moveTo>
                <a:lnTo>
                  <a:pt x="3500914" y="0"/>
                </a:lnTo>
                <a:lnTo>
                  <a:pt x="3542229" y="68006"/>
                </a:lnTo>
                <a:cubicBezTo>
                  <a:pt x="3752213" y="454545"/>
                  <a:pt x="3871489" y="897507"/>
                  <a:pt x="3871489" y="1368323"/>
                </a:cubicBezTo>
                <a:cubicBezTo>
                  <a:pt x="3871489" y="2874936"/>
                  <a:pt x="2650098" y="4096327"/>
                  <a:pt x="1143485" y="4096327"/>
                </a:cubicBezTo>
                <a:cubicBezTo>
                  <a:pt x="766832" y="4096327"/>
                  <a:pt x="408006" y="4019990"/>
                  <a:pt x="81633" y="3881944"/>
                </a:cubicBezTo>
                <a:lnTo>
                  <a:pt x="0" y="3842618"/>
                </a:lnTo>
                <a:lnTo>
                  <a:pt x="0" y="2741475"/>
                </a:lnTo>
                <a:lnTo>
                  <a:pt x="6615" y="2747487"/>
                </a:lnTo>
                <a:cubicBezTo>
                  <a:pt x="315579" y="3002472"/>
                  <a:pt x="711663" y="3155655"/>
                  <a:pt x="1143485" y="3155655"/>
                </a:cubicBezTo>
                <a:cubicBezTo>
                  <a:pt x="2130515" y="3155655"/>
                  <a:pt x="2930817" y="2355353"/>
                  <a:pt x="2930817" y="1368323"/>
                </a:cubicBezTo>
                <a:cubicBezTo>
                  <a:pt x="2930817" y="874812"/>
                  <a:pt x="2730741" y="427979"/>
                  <a:pt x="2407287" y="104524"/>
                </a:cubicBezTo>
                <a:close/>
              </a:path>
            </a:pathLst>
          </a:custGeom>
          <a:solidFill>
            <a:schemeClr val="accent1">
              <a:alpha val="2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1"/>
              </a:solidFill>
            </a:endParaRPr>
          </a:p>
        </p:txBody>
      </p:sp>
      <p:grpSp>
        <p:nvGrpSpPr>
          <p:cNvPr id="76" name="Group 75">
            <a:extLst>
              <a:ext uri="{FF2B5EF4-FFF2-40B4-BE49-F238E27FC236}">
                <a16:creationId xmlns:a16="http://schemas.microsoft.com/office/drawing/2014/main" id="{73D7C106-260D-4F16-93A6-3C076C9E6C68}"/>
              </a:ext>
              <a:ext uri="{C183D7F6-B498-43B3-948B-1728B52AA6E4}">
                <adec:decorative xmlns:adec="http://schemas.microsoft.com/office/drawing/2017/decorative" val="1"/>
              </a:ext>
            </a:extLst>
          </p:cNvPr>
          <p:cNvGrpSpPr/>
          <p:nvPr userDrawn="1"/>
        </p:nvGrpSpPr>
        <p:grpSpPr>
          <a:xfrm>
            <a:off x="1481312" y="743744"/>
            <a:ext cx="4860256" cy="4589316"/>
            <a:chOff x="1481312" y="743744"/>
            <a:chExt cx="4860256" cy="4589316"/>
          </a:xfrm>
        </p:grpSpPr>
        <p:sp>
          <p:nvSpPr>
            <p:cNvPr id="77" name="Rectangle 76" descr="Tag=AccentColor&#10;Flavor=Light&#10;Target=Fill">
              <a:extLst>
                <a:ext uri="{FF2B5EF4-FFF2-40B4-BE49-F238E27FC236}">
                  <a16:creationId xmlns:a16="http://schemas.microsoft.com/office/drawing/2014/main" id="{CE90353B-4B0C-4677-A170-00AD60175039}"/>
                </a:ext>
              </a:extLst>
            </p:cNvPr>
            <p:cNvSpPr/>
            <p:nvPr/>
          </p:nvSpPr>
          <p:spPr>
            <a:xfrm>
              <a:off x="1481312" y="743744"/>
              <a:ext cx="4860256" cy="4589316"/>
            </a:xfrm>
            <a:prstGeom prst="rect">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1"/>
                </a:solidFill>
              </a:endParaRPr>
            </a:p>
          </p:txBody>
        </p:sp>
        <p:sp>
          <p:nvSpPr>
            <p:cNvPr id="78" name="Rectangle 77" descr="Tag=AccentColor&#10;Flavor=Light&#10;Target=Fill">
              <a:extLst>
                <a:ext uri="{FF2B5EF4-FFF2-40B4-BE49-F238E27FC236}">
                  <a16:creationId xmlns:a16="http://schemas.microsoft.com/office/drawing/2014/main" id="{4C70E8BC-9282-41C2-B22A-745DB1C827CF}"/>
                </a:ext>
              </a:extLst>
            </p:cNvPr>
            <p:cNvSpPr/>
            <p:nvPr/>
          </p:nvSpPr>
          <p:spPr>
            <a:xfrm>
              <a:off x="1481312" y="743744"/>
              <a:ext cx="4860256" cy="4589316"/>
            </a:xfrm>
            <a:prstGeom prst="rect">
              <a:avLst/>
            </a:prstGeom>
            <a:solidFill>
              <a:schemeClr val="accent3">
                <a:alpha val="2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useBgFill="1">
        <p:nvSpPr>
          <p:cNvPr id="79" name="Rectangle 78">
            <a:extLst>
              <a:ext uri="{FF2B5EF4-FFF2-40B4-BE49-F238E27FC236}">
                <a16:creationId xmlns:a16="http://schemas.microsoft.com/office/drawing/2014/main" id="{BB51E472-8334-4DEB-9D39-8E4FFA92E21E}"/>
              </a:ext>
              <a:ext uri="{C183D7F6-B498-43B3-948B-1728B52AA6E4}">
                <adec:decorative xmlns:adec="http://schemas.microsoft.com/office/drawing/2017/decorative" val="1"/>
              </a:ext>
            </a:extLst>
          </p:cNvPr>
          <p:cNvSpPr/>
          <p:nvPr userDrawn="1"/>
        </p:nvSpPr>
        <p:spPr>
          <a:xfrm>
            <a:off x="1379729" y="648365"/>
            <a:ext cx="4860256" cy="4589316"/>
          </a:xfrm>
          <a:prstGeom prst="rect">
            <a:avLst/>
          </a:prstGeom>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Title 1">
            <a:extLst>
              <a:ext uri="{FF2B5EF4-FFF2-40B4-BE49-F238E27FC236}">
                <a16:creationId xmlns:a16="http://schemas.microsoft.com/office/drawing/2014/main" id="{CC645776-A980-4F78-8E9D-4EA5572A59C6}"/>
              </a:ext>
            </a:extLst>
          </p:cNvPr>
          <p:cNvSpPr>
            <a:spLocks noGrp="1"/>
          </p:cNvSpPr>
          <p:nvPr>
            <p:ph type="ctrTitle" hasCustomPrompt="1"/>
          </p:nvPr>
        </p:nvSpPr>
        <p:spPr>
          <a:xfrm>
            <a:off x="1521269" y="799275"/>
            <a:ext cx="4579668" cy="3028072"/>
          </a:xfrm>
        </p:spPr>
        <p:txBody>
          <a:bodyPr/>
          <a:lstStyle>
            <a:lvl1pPr algn="ctr">
              <a:defRPr sz="6000" b="1" spc="1500" baseline="0"/>
            </a:lvl1pPr>
          </a:lstStyle>
          <a:p>
            <a:r>
              <a:rPr lang="en-US" dirty="0"/>
              <a:t>CLICK TO ADD TITLE</a:t>
            </a:r>
          </a:p>
        </p:txBody>
      </p:sp>
      <p:sp>
        <p:nvSpPr>
          <p:cNvPr id="81" name="Subtitle 2">
            <a:extLst>
              <a:ext uri="{FF2B5EF4-FFF2-40B4-BE49-F238E27FC236}">
                <a16:creationId xmlns:a16="http://schemas.microsoft.com/office/drawing/2014/main" id="{4F03E6E3-0D95-48FF-BBCC-EA589CD1285B}"/>
              </a:ext>
            </a:extLst>
          </p:cNvPr>
          <p:cNvSpPr>
            <a:spLocks noGrp="1"/>
          </p:cNvSpPr>
          <p:nvPr>
            <p:ph type="subTitle" idx="1" hasCustomPrompt="1"/>
          </p:nvPr>
        </p:nvSpPr>
        <p:spPr>
          <a:xfrm>
            <a:off x="1521269" y="3919422"/>
            <a:ext cx="4579668" cy="1166797"/>
          </a:xfrm>
        </p:spPr>
        <p:txBody>
          <a:bodyPr/>
          <a:lstStyle>
            <a:lvl1pPr algn="ctr">
              <a:buNone/>
              <a:defRPr sz="2400" spc="400" baseline="0"/>
            </a:lvl1pPr>
          </a:lstStyle>
          <a:p>
            <a:r>
              <a:rPr lang="en-US" dirty="0"/>
              <a:t>CLICK TO ADD SUBTITLE</a:t>
            </a:r>
          </a:p>
        </p:txBody>
      </p:sp>
      <p:sp>
        <p:nvSpPr>
          <p:cNvPr id="82" name="Oval 81">
            <a:extLst>
              <a:ext uri="{FF2B5EF4-FFF2-40B4-BE49-F238E27FC236}">
                <a16:creationId xmlns:a16="http://schemas.microsoft.com/office/drawing/2014/main" id="{10275C51-172D-4FE9-A45A-D3DAD166B854}"/>
              </a:ext>
              <a:ext uri="{C183D7F6-B498-43B3-948B-1728B52AA6E4}">
                <adec:decorative xmlns:adec="http://schemas.microsoft.com/office/drawing/2017/decorative" val="1"/>
              </a:ext>
            </a:extLst>
          </p:cNvPr>
          <p:cNvSpPr/>
          <p:nvPr userDrawn="1"/>
        </p:nvSpPr>
        <p:spPr>
          <a:xfrm>
            <a:off x="1199364" y="4074364"/>
            <a:ext cx="365125" cy="365125"/>
          </a:xfrm>
          <a:prstGeom prst="ellipse">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1"/>
              </a:solidFill>
            </a:endParaRPr>
          </a:p>
        </p:txBody>
      </p:sp>
      <p:sp>
        <p:nvSpPr>
          <p:cNvPr id="83" name="Freeform: Shape 82">
            <a:extLst>
              <a:ext uri="{FF2B5EF4-FFF2-40B4-BE49-F238E27FC236}">
                <a16:creationId xmlns:a16="http://schemas.microsoft.com/office/drawing/2014/main" id="{DB95E389-C1AA-4243-931C-270FE4BB06C6}"/>
              </a:ext>
              <a:ext uri="{C183D7F6-B498-43B3-948B-1728B52AA6E4}">
                <adec:decorative xmlns:adec="http://schemas.microsoft.com/office/drawing/2017/decorative" val="1"/>
              </a:ext>
            </a:extLst>
          </p:cNvPr>
          <p:cNvSpPr/>
          <p:nvPr userDrawn="1"/>
        </p:nvSpPr>
        <p:spPr>
          <a:xfrm>
            <a:off x="10602612" y="5333060"/>
            <a:ext cx="1589388" cy="1524940"/>
          </a:xfrm>
          <a:custGeom>
            <a:avLst/>
            <a:gdLst>
              <a:gd name="connsiteX0" fmla="*/ 2473947 w 3432581"/>
              <a:gd name="connsiteY0" fmla="*/ 0 h 3293393"/>
              <a:gd name="connsiteX1" fmla="*/ 3209623 w 3432581"/>
              <a:gd name="connsiteY1" fmla="*/ 111224 h 3293393"/>
              <a:gd name="connsiteX2" fmla="*/ 3432581 w 3432581"/>
              <a:gd name="connsiteY2" fmla="*/ 192828 h 3293393"/>
              <a:gd name="connsiteX3" fmla="*/ 3432581 w 3432581"/>
              <a:gd name="connsiteY3" fmla="*/ 3293393 h 3293393"/>
              <a:gd name="connsiteX4" fmla="*/ 141884 w 3432581"/>
              <a:gd name="connsiteY4" fmla="*/ 3293393 h 3293393"/>
              <a:gd name="connsiteX5" fmla="*/ 111224 w 3432581"/>
              <a:gd name="connsiteY5" fmla="*/ 3209623 h 3293393"/>
              <a:gd name="connsiteX6" fmla="*/ 0 w 3432581"/>
              <a:gd name="connsiteY6" fmla="*/ 2473947 h 3293393"/>
              <a:gd name="connsiteX7" fmla="*/ 2473947 w 3432581"/>
              <a:gd name="connsiteY7" fmla="*/ 0 h 329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2581" h="3293393">
                <a:moveTo>
                  <a:pt x="2473947" y="0"/>
                </a:moveTo>
                <a:cubicBezTo>
                  <a:pt x="2730133" y="0"/>
                  <a:pt x="2977223" y="38940"/>
                  <a:pt x="3209623" y="111224"/>
                </a:cubicBezTo>
                <a:lnTo>
                  <a:pt x="3432581" y="192828"/>
                </a:lnTo>
                <a:lnTo>
                  <a:pt x="3432581" y="3293393"/>
                </a:lnTo>
                <a:lnTo>
                  <a:pt x="141884" y="3293393"/>
                </a:lnTo>
                <a:lnTo>
                  <a:pt x="111224" y="3209623"/>
                </a:lnTo>
                <a:cubicBezTo>
                  <a:pt x="38940" y="2977224"/>
                  <a:pt x="0" y="2730133"/>
                  <a:pt x="0" y="2473947"/>
                </a:cubicBezTo>
                <a:cubicBezTo>
                  <a:pt x="0" y="1107624"/>
                  <a:pt x="1107624" y="0"/>
                  <a:pt x="2473947" y="0"/>
                </a:cubicBezTo>
                <a:close/>
              </a:path>
            </a:pathLst>
          </a:cu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1"/>
              </a:solidFill>
            </a:endParaRPr>
          </a:p>
        </p:txBody>
      </p:sp>
      <p:sp>
        <p:nvSpPr>
          <p:cNvPr id="84" name="Freeform: Shape 83">
            <a:extLst>
              <a:ext uri="{FF2B5EF4-FFF2-40B4-BE49-F238E27FC236}">
                <a16:creationId xmlns:a16="http://schemas.microsoft.com/office/drawing/2014/main" id="{310E7790-D96D-4055-AA95-63C286EC7D57}"/>
              </a:ext>
              <a:ext uri="{C183D7F6-B498-43B3-948B-1728B52AA6E4}">
                <adec:decorative xmlns:adec="http://schemas.microsoft.com/office/drawing/2017/decorative" val="1"/>
              </a:ext>
            </a:extLst>
          </p:cNvPr>
          <p:cNvSpPr/>
          <p:nvPr userDrawn="1"/>
        </p:nvSpPr>
        <p:spPr>
          <a:xfrm>
            <a:off x="10602612" y="5333060"/>
            <a:ext cx="1589388" cy="1524940"/>
          </a:xfrm>
          <a:custGeom>
            <a:avLst/>
            <a:gdLst>
              <a:gd name="connsiteX0" fmla="*/ 2473947 w 3432581"/>
              <a:gd name="connsiteY0" fmla="*/ 0 h 3293393"/>
              <a:gd name="connsiteX1" fmla="*/ 3209623 w 3432581"/>
              <a:gd name="connsiteY1" fmla="*/ 111224 h 3293393"/>
              <a:gd name="connsiteX2" fmla="*/ 3432581 w 3432581"/>
              <a:gd name="connsiteY2" fmla="*/ 192828 h 3293393"/>
              <a:gd name="connsiteX3" fmla="*/ 3432581 w 3432581"/>
              <a:gd name="connsiteY3" fmla="*/ 3293393 h 3293393"/>
              <a:gd name="connsiteX4" fmla="*/ 141884 w 3432581"/>
              <a:gd name="connsiteY4" fmla="*/ 3293393 h 3293393"/>
              <a:gd name="connsiteX5" fmla="*/ 111224 w 3432581"/>
              <a:gd name="connsiteY5" fmla="*/ 3209623 h 3293393"/>
              <a:gd name="connsiteX6" fmla="*/ 0 w 3432581"/>
              <a:gd name="connsiteY6" fmla="*/ 2473947 h 3293393"/>
              <a:gd name="connsiteX7" fmla="*/ 2473947 w 3432581"/>
              <a:gd name="connsiteY7" fmla="*/ 0 h 329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2581" h="3293393">
                <a:moveTo>
                  <a:pt x="2473947" y="0"/>
                </a:moveTo>
                <a:cubicBezTo>
                  <a:pt x="2730133" y="0"/>
                  <a:pt x="2977223" y="38940"/>
                  <a:pt x="3209623" y="111224"/>
                </a:cubicBezTo>
                <a:lnTo>
                  <a:pt x="3432581" y="192828"/>
                </a:lnTo>
                <a:lnTo>
                  <a:pt x="3432581" y="3293393"/>
                </a:lnTo>
                <a:lnTo>
                  <a:pt x="141884" y="3293393"/>
                </a:lnTo>
                <a:lnTo>
                  <a:pt x="111224" y="3209623"/>
                </a:lnTo>
                <a:cubicBezTo>
                  <a:pt x="38940" y="2977224"/>
                  <a:pt x="0" y="2730133"/>
                  <a:pt x="0" y="2473947"/>
                </a:cubicBezTo>
                <a:cubicBezTo>
                  <a:pt x="0" y="1107624"/>
                  <a:pt x="1107624" y="0"/>
                  <a:pt x="2473947" y="0"/>
                </a:cubicBezTo>
                <a:close/>
              </a:path>
            </a:pathLst>
          </a:custGeom>
          <a:solidFill>
            <a:schemeClr val="accent3">
              <a:alpha val="2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86" name="Graphic 185">
            <a:extLst>
              <a:ext uri="{FF2B5EF4-FFF2-40B4-BE49-F238E27FC236}">
                <a16:creationId xmlns:a16="http://schemas.microsoft.com/office/drawing/2014/main" id="{4E460B18-E051-4152-85D3-76A93C7EA455}"/>
              </a:ext>
              <a:ext uri="{C183D7F6-B498-43B3-948B-1728B52AA6E4}">
                <adec:decorative xmlns:adec="http://schemas.microsoft.com/office/drawing/2017/decorative" val="1"/>
              </a:ext>
            </a:extLst>
          </p:cNvPr>
          <p:cNvGrpSpPr/>
          <p:nvPr userDrawn="1"/>
        </p:nvGrpSpPr>
        <p:grpSpPr>
          <a:xfrm>
            <a:off x="9805475" y="1581418"/>
            <a:ext cx="843746" cy="375828"/>
            <a:chOff x="9841624" y="4115729"/>
            <a:chExt cx="602170" cy="268223"/>
          </a:xfrm>
          <a:solidFill>
            <a:schemeClr val="tx1"/>
          </a:solidFill>
        </p:grpSpPr>
        <p:sp>
          <p:nvSpPr>
            <p:cNvPr id="87" name="Freeform: Shape 86">
              <a:extLst>
                <a:ext uri="{FF2B5EF4-FFF2-40B4-BE49-F238E27FC236}">
                  <a16:creationId xmlns:a16="http://schemas.microsoft.com/office/drawing/2014/main" id="{94B28A43-F583-4902-9997-46A4D316FB8A}"/>
                </a:ext>
              </a:extLst>
            </p:cNvPr>
            <p:cNvSpPr/>
            <p:nvPr/>
          </p:nvSpPr>
          <p:spPr>
            <a:xfrm>
              <a:off x="9841624" y="4115729"/>
              <a:ext cx="202882" cy="268223"/>
            </a:xfrm>
            <a:custGeom>
              <a:avLst/>
              <a:gdLst>
                <a:gd name="connsiteX0" fmla="*/ 20765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765" y="268224"/>
                  </a:moveTo>
                  <a:lnTo>
                    <a:pt x="0" y="268224"/>
                  </a:lnTo>
                  <a:lnTo>
                    <a:pt x="182118" y="0"/>
                  </a:lnTo>
                  <a:lnTo>
                    <a:pt x="202883" y="0"/>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1"/>
                </a:solidFill>
              </a:endParaRPr>
            </a:p>
          </p:txBody>
        </p:sp>
        <p:sp>
          <p:nvSpPr>
            <p:cNvPr id="88" name="Freeform: Shape 87">
              <a:extLst>
                <a:ext uri="{FF2B5EF4-FFF2-40B4-BE49-F238E27FC236}">
                  <a16:creationId xmlns:a16="http://schemas.microsoft.com/office/drawing/2014/main" id="{8BCE79F2-2624-4906-9841-566BD8DDA4AD}"/>
                </a:ext>
              </a:extLst>
            </p:cNvPr>
            <p:cNvSpPr/>
            <p:nvPr/>
          </p:nvSpPr>
          <p:spPr>
            <a:xfrm>
              <a:off x="9941445" y="4115729"/>
              <a:ext cx="202882" cy="268223"/>
            </a:xfrm>
            <a:custGeom>
              <a:avLst/>
              <a:gdLst>
                <a:gd name="connsiteX0" fmla="*/ 20765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765" y="268224"/>
                  </a:moveTo>
                  <a:lnTo>
                    <a:pt x="0" y="268224"/>
                  </a:lnTo>
                  <a:lnTo>
                    <a:pt x="182118" y="0"/>
                  </a:lnTo>
                  <a:lnTo>
                    <a:pt x="202883" y="0"/>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1"/>
                </a:solidFill>
              </a:endParaRPr>
            </a:p>
          </p:txBody>
        </p:sp>
        <p:sp>
          <p:nvSpPr>
            <p:cNvPr id="89" name="Freeform: Shape 88">
              <a:extLst>
                <a:ext uri="{FF2B5EF4-FFF2-40B4-BE49-F238E27FC236}">
                  <a16:creationId xmlns:a16="http://schemas.microsoft.com/office/drawing/2014/main" id="{4AF102FA-9C0A-4844-A187-23CECD95C4AF}"/>
                </a:ext>
              </a:extLst>
            </p:cNvPr>
            <p:cNvSpPr/>
            <p:nvPr/>
          </p:nvSpPr>
          <p:spPr>
            <a:xfrm>
              <a:off x="10041267"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1"/>
                </a:solidFill>
              </a:endParaRPr>
            </a:p>
          </p:txBody>
        </p:sp>
        <p:sp>
          <p:nvSpPr>
            <p:cNvPr id="90" name="Freeform: Shape 89">
              <a:extLst>
                <a:ext uri="{FF2B5EF4-FFF2-40B4-BE49-F238E27FC236}">
                  <a16:creationId xmlns:a16="http://schemas.microsoft.com/office/drawing/2014/main" id="{BC9F252A-1680-4777-BF7D-67B153676A1D}"/>
                </a:ext>
              </a:extLst>
            </p:cNvPr>
            <p:cNvSpPr/>
            <p:nvPr/>
          </p:nvSpPr>
          <p:spPr>
            <a:xfrm>
              <a:off x="10141090"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1"/>
                </a:solidFill>
              </a:endParaRPr>
            </a:p>
          </p:txBody>
        </p:sp>
        <p:sp>
          <p:nvSpPr>
            <p:cNvPr id="91" name="Freeform: Shape 90">
              <a:extLst>
                <a:ext uri="{FF2B5EF4-FFF2-40B4-BE49-F238E27FC236}">
                  <a16:creationId xmlns:a16="http://schemas.microsoft.com/office/drawing/2014/main" id="{6D161B24-FE00-4550-AB2C-02C42C60B824}"/>
                </a:ext>
              </a:extLst>
            </p:cNvPr>
            <p:cNvSpPr/>
            <p:nvPr/>
          </p:nvSpPr>
          <p:spPr>
            <a:xfrm>
              <a:off x="10240911"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1"/>
                </a:solidFill>
              </a:endParaRPr>
            </a:p>
          </p:txBody>
        </p:sp>
      </p:grpSp>
      <p:sp>
        <p:nvSpPr>
          <p:cNvPr id="92" name="Oval 91">
            <a:extLst>
              <a:ext uri="{FF2B5EF4-FFF2-40B4-BE49-F238E27FC236}">
                <a16:creationId xmlns:a16="http://schemas.microsoft.com/office/drawing/2014/main" id="{DAD8B4A3-DD6F-428E-9D74-E63865CE7D0A}"/>
              </a:ext>
              <a:ext uri="{C183D7F6-B498-43B3-948B-1728B52AA6E4}">
                <adec:decorative xmlns:adec="http://schemas.microsoft.com/office/drawing/2017/decorative" val="1"/>
              </a:ext>
            </a:extLst>
          </p:cNvPr>
          <p:cNvSpPr/>
          <p:nvPr userDrawn="1"/>
        </p:nvSpPr>
        <p:spPr>
          <a:xfrm>
            <a:off x="1199364" y="4074364"/>
            <a:ext cx="365125" cy="365125"/>
          </a:xfrm>
          <a:prstGeom prst="ellipse">
            <a:avLst/>
          </a:prstGeom>
          <a:solidFill>
            <a:schemeClr val="accent3">
              <a:lumMod val="20000"/>
              <a:lumOff val="8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6" name="Picture Placeholder 2">
            <a:extLst>
              <a:ext uri="{FF2B5EF4-FFF2-40B4-BE49-F238E27FC236}">
                <a16:creationId xmlns:a16="http://schemas.microsoft.com/office/drawing/2014/main" id="{99E7F282-7DB7-4431-A6A3-9E912E06F812}"/>
              </a:ext>
            </a:extLst>
          </p:cNvPr>
          <p:cNvSpPr>
            <a:spLocks noGrp="1"/>
          </p:cNvSpPr>
          <p:nvPr>
            <p:ph type="pic" sz="quarter" idx="13" hasCustomPrompt="1"/>
          </p:nvPr>
        </p:nvSpPr>
        <p:spPr>
          <a:xfrm>
            <a:off x="7068418" y="1957246"/>
            <a:ext cx="4207947" cy="4207948"/>
          </a:xfrm>
        </p:spPr>
        <p:txBody>
          <a:bodyPr/>
          <a:lstStyle>
            <a:lvl1pPr algn="ctr">
              <a:buNone/>
              <a:defRPr/>
            </a:lvl1pPr>
          </a:lstStyle>
          <a:p>
            <a:r>
              <a:rPr lang="en-US" dirty="0"/>
              <a:t>Click to add photo</a:t>
            </a:r>
          </a:p>
        </p:txBody>
      </p:sp>
    </p:spTree>
    <p:extLst>
      <p:ext uri="{BB962C8B-B14F-4D97-AF65-F5344CB8AC3E}">
        <p14:creationId xmlns:p14="http://schemas.microsoft.com/office/powerpoint/2010/main" val="5401075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2 Column">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2F117D5-7402-40B6-8492-280C24F60EB8}"/>
              </a:ext>
              <a:ext uri="{C183D7F6-B498-43B3-948B-1728B52AA6E4}">
                <adec:decorative xmlns:adec="http://schemas.microsoft.com/office/drawing/2017/decorative" val="1"/>
              </a:ext>
            </a:extLst>
          </p:cNvPr>
          <p:cNvGrpSpPr/>
          <p:nvPr userDrawn="1"/>
        </p:nvGrpSpPr>
        <p:grpSpPr>
          <a:xfrm>
            <a:off x="8341223" y="5289452"/>
            <a:ext cx="1640977" cy="1568548"/>
            <a:chOff x="3121343" y="4864099"/>
            <a:chExt cx="2085971" cy="1993901"/>
          </a:xfrm>
          <a:solidFill>
            <a:schemeClr val="accent1">
              <a:alpha val="20000"/>
            </a:schemeClr>
          </a:solidFill>
        </p:grpSpPr>
        <p:sp>
          <p:nvSpPr>
            <p:cNvPr id="7" name="Freeform: Shape 6">
              <a:extLst>
                <a:ext uri="{FF2B5EF4-FFF2-40B4-BE49-F238E27FC236}">
                  <a16:creationId xmlns:a16="http://schemas.microsoft.com/office/drawing/2014/main" id="{161BA3FA-C408-4DD0-8D01-AD1955F394ED}"/>
                </a:ext>
              </a:extLst>
            </p:cNvPr>
            <p:cNvSpPr/>
            <p:nvPr/>
          </p:nvSpPr>
          <p:spPr>
            <a:xfrm>
              <a:off x="3238556" y="4981312"/>
              <a:ext cx="442726" cy="442726"/>
            </a:xfrm>
            <a:custGeom>
              <a:avLst/>
              <a:gdLst>
                <a:gd name="connsiteX0" fmla="*/ 112967 w 112966"/>
                <a:gd name="connsiteY0" fmla="*/ 0 h 112966"/>
                <a:gd name="connsiteX1" fmla="*/ 0 w 112966"/>
                <a:gd name="connsiteY1" fmla="*/ 112967 h 112966"/>
                <a:gd name="connsiteX2" fmla="*/ 112967 w 112966"/>
                <a:gd name="connsiteY2" fmla="*/ 0 h 112966"/>
              </a:gdLst>
              <a:ahLst/>
              <a:cxnLst>
                <a:cxn ang="0">
                  <a:pos x="connsiteX0" y="connsiteY0"/>
                </a:cxn>
                <a:cxn ang="0">
                  <a:pos x="connsiteX1" y="connsiteY1"/>
                </a:cxn>
                <a:cxn ang="0">
                  <a:pos x="connsiteX2" y="connsiteY2"/>
                </a:cxn>
              </a:cxnLst>
              <a:rect l="l" t="t" r="r" b="b"/>
              <a:pathLst>
                <a:path w="112966" h="112966">
                  <a:moveTo>
                    <a:pt x="112967" y="0"/>
                  </a:moveTo>
                  <a:lnTo>
                    <a:pt x="0" y="112967"/>
                  </a:lnTo>
                  <a:cubicBezTo>
                    <a:pt x="25356" y="64747"/>
                    <a:pt x="64747" y="25356"/>
                    <a:pt x="112967" y="0"/>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8" name="Freeform: Shape 7">
              <a:extLst>
                <a:ext uri="{FF2B5EF4-FFF2-40B4-BE49-F238E27FC236}">
                  <a16:creationId xmlns:a16="http://schemas.microsoft.com/office/drawing/2014/main" id="{C1D6E8BB-7294-492C-92F6-55ED4E53CFE8}"/>
                </a:ext>
              </a:extLst>
            </p:cNvPr>
            <p:cNvSpPr/>
            <p:nvPr/>
          </p:nvSpPr>
          <p:spPr>
            <a:xfrm>
              <a:off x="3128809" y="4871565"/>
              <a:ext cx="902626" cy="902626"/>
            </a:xfrm>
            <a:custGeom>
              <a:avLst/>
              <a:gdLst>
                <a:gd name="connsiteX0" fmla="*/ 230314 w 230314"/>
                <a:gd name="connsiteY0" fmla="*/ 0 h 230314"/>
                <a:gd name="connsiteX1" fmla="*/ 0 w 230314"/>
                <a:gd name="connsiteY1" fmla="*/ 230314 h 230314"/>
                <a:gd name="connsiteX2" fmla="*/ 3524 w 230314"/>
                <a:gd name="connsiteY2" fmla="*/ 209550 h 230314"/>
                <a:gd name="connsiteX3" fmla="*/ 209550 w 230314"/>
                <a:gd name="connsiteY3" fmla="*/ 3524 h 230314"/>
                <a:gd name="connsiteX4" fmla="*/ 230314 w 230314"/>
                <a:gd name="connsiteY4" fmla="*/ 0 h 23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14" h="230314">
                  <a:moveTo>
                    <a:pt x="230314" y="0"/>
                  </a:moveTo>
                  <a:lnTo>
                    <a:pt x="0" y="230314"/>
                  </a:lnTo>
                  <a:cubicBezTo>
                    <a:pt x="953" y="223361"/>
                    <a:pt x="2095" y="216408"/>
                    <a:pt x="3524" y="209550"/>
                  </a:cubicBezTo>
                  <a:lnTo>
                    <a:pt x="209550" y="3524"/>
                  </a:lnTo>
                  <a:cubicBezTo>
                    <a:pt x="216408" y="2095"/>
                    <a:pt x="223361" y="953"/>
                    <a:pt x="230314" y="0"/>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9" name="Freeform: Shape 8">
              <a:extLst>
                <a:ext uri="{FF2B5EF4-FFF2-40B4-BE49-F238E27FC236}">
                  <a16:creationId xmlns:a16="http://schemas.microsoft.com/office/drawing/2014/main" id="{58388000-0440-4364-8913-532DFCCD9C34}"/>
                </a:ext>
              </a:extLst>
            </p:cNvPr>
            <p:cNvSpPr/>
            <p:nvPr/>
          </p:nvSpPr>
          <p:spPr>
            <a:xfrm>
              <a:off x="3121343" y="4864099"/>
              <a:ext cx="1152732" cy="1152732"/>
            </a:xfrm>
            <a:custGeom>
              <a:avLst/>
              <a:gdLst>
                <a:gd name="connsiteX0" fmla="*/ 294132 w 294131"/>
                <a:gd name="connsiteY0" fmla="*/ 1238 h 294131"/>
                <a:gd name="connsiteX1" fmla="*/ 1238 w 294131"/>
                <a:gd name="connsiteY1" fmla="*/ 294132 h 294131"/>
                <a:gd name="connsiteX2" fmla="*/ 0 w 294131"/>
                <a:gd name="connsiteY2" fmla="*/ 278225 h 294131"/>
                <a:gd name="connsiteX3" fmla="*/ 278225 w 294131"/>
                <a:gd name="connsiteY3" fmla="*/ 0 h 294131"/>
                <a:gd name="connsiteX4" fmla="*/ 294132 w 294131"/>
                <a:gd name="connsiteY4" fmla="*/ 1238 h 294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131" h="294131">
                  <a:moveTo>
                    <a:pt x="294132" y="1238"/>
                  </a:moveTo>
                  <a:lnTo>
                    <a:pt x="1238" y="294132"/>
                  </a:lnTo>
                  <a:cubicBezTo>
                    <a:pt x="667" y="288893"/>
                    <a:pt x="0" y="283559"/>
                    <a:pt x="0" y="278225"/>
                  </a:cubicBezTo>
                  <a:lnTo>
                    <a:pt x="278225" y="0"/>
                  </a:lnTo>
                  <a:cubicBezTo>
                    <a:pt x="283559" y="0"/>
                    <a:pt x="288893" y="667"/>
                    <a:pt x="294132" y="1238"/>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0" name="Freeform: Shape 9">
              <a:extLst>
                <a:ext uri="{FF2B5EF4-FFF2-40B4-BE49-F238E27FC236}">
                  <a16:creationId xmlns:a16="http://schemas.microsoft.com/office/drawing/2014/main" id="{23A011FE-8ED6-4045-8217-38BE203C050D}"/>
                </a:ext>
              </a:extLst>
            </p:cNvPr>
            <p:cNvSpPr/>
            <p:nvPr/>
          </p:nvSpPr>
          <p:spPr>
            <a:xfrm>
              <a:off x="3152324" y="4894707"/>
              <a:ext cx="1321462" cy="1321838"/>
            </a:xfrm>
            <a:custGeom>
              <a:avLst/>
              <a:gdLst>
                <a:gd name="connsiteX0" fmla="*/ 337185 w 337184"/>
                <a:gd name="connsiteY0" fmla="*/ 3905 h 337280"/>
                <a:gd name="connsiteX1" fmla="*/ 3810 w 337184"/>
                <a:gd name="connsiteY1" fmla="*/ 337280 h 337280"/>
                <a:gd name="connsiteX2" fmla="*/ 0 w 337184"/>
                <a:gd name="connsiteY2" fmla="*/ 323850 h 337280"/>
                <a:gd name="connsiteX3" fmla="*/ 323850 w 337184"/>
                <a:gd name="connsiteY3" fmla="*/ 0 h 337280"/>
                <a:gd name="connsiteX4" fmla="*/ 337185 w 337184"/>
                <a:gd name="connsiteY4" fmla="*/ 3905 h 33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184" h="337280">
                  <a:moveTo>
                    <a:pt x="337185" y="3905"/>
                  </a:moveTo>
                  <a:lnTo>
                    <a:pt x="3810" y="337280"/>
                  </a:lnTo>
                  <a:cubicBezTo>
                    <a:pt x="2381" y="332899"/>
                    <a:pt x="1143" y="328422"/>
                    <a:pt x="0" y="323850"/>
                  </a:cubicBezTo>
                  <a:lnTo>
                    <a:pt x="323850" y="0"/>
                  </a:lnTo>
                  <a:cubicBezTo>
                    <a:pt x="328327" y="1715"/>
                    <a:pt x="332804" y="2477"/>
                    <a:pt x="337185" y="3905"/>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1" name="Freeform: Shape 10">
              <a:extLst>
                <a:ext uri="{FF2B5EF4-FFF2-40B4-BE49-F238E27FC236}">
                  <a16:creationId xmlns:a16="http://schemas.microsoft.com/office/drawing/2014/main" id="{55AFAABB-1473-4746-A400-F23E5F57BB4B}"/>
                </a:ext>
              </a:extLst>
            </p:cNvPr>
            <p:cNvSpPr/>
            <p:nvPr/>
          </p:nvSpPr>
          <p:spPr>
            <a:xfrm>
              <a:off x="3215037" y="4957793"/>
              <a:ext cx="1428975" cy="1428975"/>
            </a:xfrm>
            <a:custGeom>
              <a:avLst/>
              <a:gdLst>
                <a:gd name="connsiteX0" fmla="*/ 364617 w 364617"/>
                <a:gd name="connsiteY0" fmla="*/ 5620 h 364617"/>
                <a:gd name="connsiteX1" fmla="*/ 5620 w 364617"/>
                <a:gd name="connsiteY1" fmla="*/ 364617 h 364617"/>
                <a:gd name="connsiteX2" fmla="*/ 0 w 364617"/>
                <a:gd name="connsiteY2" fmla="*/ 353187 h 364617"/>
                <a:gd name="connsiteX3" fmla="*/ 353187 w 364617"/>
                <a:gd name="connsiteY3" fmla="*/ 0 h 364617"/>
                <a:gd name="connsiteX4" fmla="*/ 364617 w 364617"/>
                <a:gd name="connsiteY4" fmla="*/ 5620 h 364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7" h="364617">
                  <a:moveTo>
                    <a:pt x="364617" y="5620"/>
                  </a:moveTo>
                  <a:lnTo>
                    <a:pt x="5620" y="364617"/>
                  </a:lnTo>
                  <a:cubicBezTo>
                    <a:pt x="3620" y="360902"/>
                    <a:pt x="1715" y="357092"/>
                    <a:pt x="0" y="353187"/>
                  </a:cubicBezTo>
                  <a:lnTo>
                    <a:pt x="353187" y="0"/>
                  </a:lnTo>
                  <a:cubicBezTo>
                    <a:pt x="357092" y="1715"/>
                    <a:pt x="360902" y="3715"/>
                    <a:pt x="364617" y="5620"/>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2" name="Freeform: Shape 11">
              <a:extLst>
                <a:ext uri="{FF2B5EF4-FFF2-40B4-BE49-F238E27FC236}">
                  <a16:creationId xmlns:a16="http://schemas.microsoft.com/office/drawing/2014/main" id="{1FD7A49F-A1AC-4EB9-9F5F-D56917BFD054}"/>
                </a:ext>
              </a:extLst>
            </p:cNvPr>
            <p:cNvSpPr/>
            <p:nvPr/>
          </p:nvSpPr>
          <p:spPr>
            <a:xfrm>
              <a:off x="3301642" y="5044398"/>
              <a:ext cx="1490195" cy="1490195"/>
            </a:xfrm>
            <a:custGeom>
              <a:avLst/>
              <a:gdLst>
                <a:gd name="connsiteX0" fmla="*/ 380238 w 380238"/>
                <a:gd name="connsiteY0" fmla="*/ 7239 h 380238"/>
                <a:gd name="connsiteX1" fmla="*/ 7239 w 380238"/>
                <a:gd name="connsiteY1" fmla="*/ 380238 h 380238"/>
                <a:gd name="connsiteX2" fmla="*/ 0 w 380238"/>
                <a:gd name="connsiteY2" fmla="*/ 370713 h 380238"/>
                <a:gd name="connsiteX3" fmla="*/ 370237 w 380238"/>
                <a:gd name="connsiteY3" fmla="*/ 0 h 380238"/>
                <a:gd name="connsiteX4" fmla="*/ 380238 w 380238"/>
                <a:gd name="connsiteY4" fmla="*/ 7239 h 38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238" h="380238">
                  <a:moveTo>
                    <a:pt x="380238" y="7239"/>
                  </a:moveTo>
                  <a:lnTo>
                    <a:pt x="7239" y="380238"/>
                  </a:lnTo>
                  <a:cubicBezTo>
                    <a:pt x="4763" y="377000"/>
                    <a:pt x="2381" y="373571"/>
                    <a:pt x="0" y="370713"/>
                  </a:cubicBezTo>
                  <a:lnTo>
                    <a:pt x="370237" y="0"/>
                  </a:lnTo>
                  <a:cubicBezTo>
                    <a:pt x="373571" y="2381"/>
                    <a:pt x="377000" y="4763"/>
                    <a:pt x="380238" y="7239"/>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3" name="Freeform: Shape 12">
              <a:extLst>
                <a:ext uri="{FF2B5EF4-FFF2-40B4-BE49-F238E27FC236}">
                  <a16:creationId xmlns:a16="http://schemas.microsoft.com/office/drawing/2014/main" id="{FEEB7B70-2392-461B-A28C-EF5E96FA9940}"/>
                </a:ext>
              </a:extLst>
            </p:cNvPr>
            <p:cNvSpPr/>
            <p:nvPr/>
          </p:nvSpPr>
          <p:spPr>
            <a:xfrm>
              <a:off x="3409523" y="5152279"/>
              <a:ext cx="1509607" cy="1509607"/>
            </a:xfrm>
            <a:custGeom>
              <a:avLst/>
              <a:gdLst>
                <a:gd name="connsiteX0" fmla="*/ 380905 w 385191"/>
                <a:gd name="connsiteY0" fmla="*/ 4286 h 385191"/>
                <a:gd name="connsiteX1" fmla="*/ 385191 w 385191"/>
                <a:gd name="connsiteY1" fmla="*/ 8573 h 385191"/>
                <a:gd name="connsiteX2" fmla="*/ 8573 w 385191"/>
                <a:gd name="connsiteY2" fmla="*/ 385191 h 385191"/>
                <a:gd name="connsiteX3" fmla="*/ 4286 w 385191"/>
                <a:gd name="connsiteY3" fmla="*/ 380905 h 385191"/>
                <a:gd name="connsiteX4" fmla="*/ 0 w 385191"/>
                <a:gd name="connsiteY4" fmla="*/ 376523 h 385191"/>
                <a:gd name="connsiteX5" fmla="*/ 376523 w 385191"/>
                <a:gd name="connsiteY5" fmla="*/ 0 h 385191"/>
                <a:gd name="connsiteX6" fmla="*/ 380905 w 385191"/>
                <a:gd name="connsiteY6" fmla="*/ 4286 h 38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191" h="385191">
                  <a:moveTo>
                    <a:pt x="380905" y="4286"/>
                  </a:moveTo>
                  <a:lnTo>
                    <a:pt x="385191" y="8573"/>
                  </a:lnTo>
                  <a:lnTo>
                    <a:pt x="8573" y="385191"/>
                  </a:lnTo>
                  <a:lnTo>
                    <a:pt x="4286" y="380905"/>
                  </a:lnTo>
                  <a:cubicBezTo>
                    <a:pt x="2762" y="379476"/>
                    <a:pt x="1334" y="377952"/>
                    <a:pt x="0" y="376523"/>
                  </a:cubicBezTo>
                  <a:lnTo>
                    <a:pt x="376523" y="0"/>
                  </a:lnTo>
                  <a:cubicBezTo>
                    <a:pt x="377952" y="1334"/>
                    <a:pt x="379476" y="2667"/>
                    <a:pt x="380905" y="4286"/>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4" name="Freeform: Shape 13">
              <a:extLst>
                <a:ext uri="{FF2B5EF4-FFF2-40B4-BE49-F238E27FC236}">
                  <a16:creationId xmlns:a16="http://schemas.microsoft.com/office/drawing/2014/main" id="{CC22C2E5-25C3-4B84-ABFF-7E10A7384E59}"/>
                </a:ext>
              </a:extLst>
            </p:cNvPr>
            <p:cNvSpPr/>
            <p:nvPr/>
          </p:nvSpPr>
          <p:spPr>
            <a:xfrm>
              <a:off x="3538685" y="5279576"/>
              <a:ext cx="1488326" cy="1490192"/>
            </a:xfrm>
            <a:custGeom>
              <a:avLst/>
              <a:gdLst>
                <a:gd name="connsiteX0" fmla="*/ 372428 w 379761"/>
                <a:gd name="connsiteY0" fmla="*/ 0 h 380237"/>
                <a:gd name="connsiteX1" fmla="*/ 379762 w 379761"/>
                <a:gd name="connsiteY1" fmla="*/ 9525 h 380237"/>
                <a:gd name="connsiteX2" fmla="*/ 9525 w 379761"/>
                <a:gd name="connsiteY2" fmla="*/ 380238 h 380237"/>
                <a:gd name="connsiteX3" fmla="*/ 0 w 379761"/>
                <a:gd name="connsiteY3" fmla="*/ 372904 h 380237"/>
              </a:gdLst>
              <a:ahLst/>
              <a:cxnLst>
                <a:cxn ang="0">
                  <a:pos x="connsiteX0" y="connsiteY0"/>
                </a:cxn>
                <a:cxn ang="0">
                  <a:pos x="connsiteX1" y="connsiteY1"/>
                </a:cxn>
                <a:cxn ang="0">
                  <a:pos x="connsiteX2" y="connsiteY2"/>
                </a:cxn>
                <a:cxn ang="0">
                  <a:pos x="connsiteX3" y="connsiteY3"/>
                </a:cxn>
              </a:cxnLst>
              <a:rect l="l" t="t" r="r" b="b"/>
              <a:pathLst>
                <a:path w="379761" h="380237">
                  <a:moveTo>
                    <a:pt x="372428" y="0"/>
                  </a:moveTo>
                  <a:cubicBezTo>
                    <a:pt x="374999" y="3239"/>
                    <a:pt x="377381" y="6572"/>
                    <a:pt x="379762" y="9525"/>
                  </a:cubicBezTo>
                  <a:lnTo>
                    <a:pt x="9525" y="380238"/>
                  </a:lnTo>
                  <a:cubicBezTo>
                    <a:pt x="6096" y="377857"/>
                    <a:pt x="2762" y="375476"/>
                    <a:pt x="0" y="372904"/>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5" name="Freeform: Shape 14">
              <a:extLst>
                <a:ext uri="{FF2B5EF4-FFF2-40B4-BE49-F238E27FC236}">
                  <a16:creationId xmlns:a16="http://schemas.microsoft.com/office/drawing/2014/main" id="{A810E927-C50B-4C1F-BF74-F1A3559B3DE6}"/>
                </a:ext>
              </a:extLst>
            </p:cNvPr>
            <p:cNvSpPr/>
            <p:nvPr/>
          </p:nvSpPr>
          <p:spPr>
            <a:xfrm>
              <a:off x="3683896" y="5426652"/>
              <a:ext cx="1429720" cy="1429720"/>
            </a:xfrm>
            <a:custGeom>
              <a:avLst/>
              <a:gdLst>
                <a:gd name="connsiteX0" fmla="*/ 359188 w 364807"/>
                <a:gd name="connsiteY0" fmla="*/ 0 h 364807"/>
                <a:gd name="connsiteX1" fmla="*/ 364808 w 364807"/>
                <a:gd name="connsiteY1" fmla="*/ 11621 h 364807"/>
                <a:gd name="connsiteX2" fmla="*/ 11621 w 364807"/>
                <a:gd name="connsiteY2" fmla="*/ 364808 h 364807"/>
                <a:gd name="connsiteX3" fmla="*/ 0 w 364807"/>
                <a:gd name="connsiteY3" fmla="*/ 359188 h 364807"/>
              </a:gdLst>
              <a:ahLst/>
              <a:cxnLst>
                <a:cxn ang="0">
                  <a:pos x="connsiteX0" y="connsiteY0"/>
                </a:cxn>
                <a:cxn ang="0">
                  <a:pos x="connsiteX1" y="connsiteY1"/>
                </a:cxn>
                <a:cxn ang="0">
                  <a:pos x="connsiteX2" y="connsiteY2"/>
                </a:cxn>
                <a:cxn ang="0">
                  <a:pos x="connsiteX3" y="connsiteY3"/>
                </a:cxn>
              </a:cxnLst>
              <a:rect l="l" t="t" r="r" b="b"/>
              <a:pathLst>
                <a:path w="364807" h="364807">
                  <a:moveTo>
                    <a:pt x="359188" y="0"/>
                  </a:moveTo>
                  <a:cubicBezTo>
                    <a:pt x="361188" y="3905"/>
                    <a:pt x="362998" y="7715"/>
                    <a:pt x="364808" y="11621"/>
                  </a:cubicBezTo>
                  <a:lnTo>
                    <a:pt x="11621" y="364808"/>
                  </a:lnTo>
                  <a:cubicBezTo>
                    <a:pt x="7715" y="362998"/>
                    <a:pt x="3905" y="361188"/>
                    <a:pt x="0" y="359188"/>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6" name="Freeform: Shape 15">
              <a:extLst>
                <a:ext uri="{FF2B5EF4-FFF2-40B4-BE49-F238E27FC236}">
                  <a16:creationId xmlns:a16="http://schemas.microsoft.com/office/drawing/2014/main" id="{423B0F93-803E-467A-92BE-7BEE604727BE}"/>
                </a:ext>
              </a:extLst>
            </p:cNvPr>
            <p:cNvSpPr/>
            <p:nvPr/>
          </p:nvSpPr>
          <p:spPr>
            <a:xfrm>
              <a:off x="3901021" y="5597624"/>
              <a:ext cx="1275308" cy="1260376"/>
            </a:xfrm>
            <a:custGeom>
              <a:avLst/>
              <a:gdLst>
                <a:gd name="connsiteX0" fmla="*/ 1260376 w 1275308"/>
                <a:gd name="connsiteY0" fmla="*/ 0 h 1260376"/>
                <a:gd name="connsiteX1" fmla="*/ 1275308 w 1275308"/>
                <a:gd name="connsiteY1" fmla="*/ 52634 h 1260376"/>
                <a:gd name="connsiteX2" fmla="*/ 67566 w 1275308"/>
                <a:gd name="connsiteY2" fmla="*/ 1260376 h 1260376"/>
                <a:gd name="connsiteX3" fmla="*/ 0 w 1275308"/>
                <a:gd name="connsiteY3" fmla="*/ 1260376 h 1260376"/>
              </a:gdLst>
              <a:ahLst/>
              <a:cxnLst>
                <a:cxn ang="0">
                  <a:pos x="connsiteX0" y="connsiteY0"/>
                </a:cxn>
                <a:cxn ang="0">
                  <a:pos x="connsiteX1" y="connsiteY1"/>
                </a:cxn>
                <a:cxn ang="0">
                  <a:pos x="connsiteX2" y="connsiteY2"/>
                </a:cxn>
                <a:cxn ang="0">
                  <a:pos x="connsiteX3" y="connsiteY3"/>
                </a:cxn>
              </a:cxnLst>
              <a:rect l="l" t="t" r="r" b="b"/>
              <a:pathLst>
                <a:path w="1275308" h="1260376">
                  <a:moveTo>
                    <a:pt x="1260376" y="0"/>
                  </a:moveTo>
                  <a:cubicBezTo>
                    <a:pt x="1265977" y="17174"/>
                    <a:pt x="1270829" y="34716"/>
                    <a:pt x="1275308" y="52634"/>
                  </a:cubicBezTo>
                  <a:lnTo>
                    <a:pt x="67566" y="1260376"/>
                  </a:lnTo>
                  <a:lnTo>
                    <a:pt x="0" y="1260376"/>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7" name="Freeform: Shape 16">
              <a:extLst>
                <a:ext uri="{FF2B5EF4-FFF2-40B4-BE49-F238E27FC236}">
                  <a16:creationId xmlns:a16="http://schemas.microsoft.com/office/drawing/2014/main" id="{2E9E1CC9-CDA4-47AD-BE6D-1BCF23A205D0}"/>
                </a:ext>
              </a:extLst>
            </p:cNvPr>
            <p:cNvSpPr/>
            <p:nvPr/>
          </p:nvSpPr>
          <p:spPr>
            <a:xfrm>
              <a:off x="4141456" y="5797338"/>
              <a:ext cx="1065858" cy="1060662"/>
            </a:xfrm>
            <a:custGeom>
              <a:avLst/>
              <a:gdLst>
                <a:gd name="connsiteX0" fmla="*/ 1061006 w 1065858"/>
                <a:gd name="connsiteY0" fmla="*/ 0 h 1060662"/>
                <a:gd name="connsiteX1" fmla="*/ 1065858 w 1065858"/>
                <a:gd name="connsiteY1" fmla="*/ 62342 h 1060662"/>
                <a:gd name="connsiteX2" fmla="*/ 67196 w 1065858"/>
                <a:gd name="connsiteY2" fmla="*/ 1060662 h 1060662"/>
                <a:gd name="connsiteX3" fmla="*/ 0 w 1065858"/>
                <a:gd name="connsiteY3" fmla="*/ 1060662 h 1060662"/>
              </a:gdLst>
              <a:ahLst/>
              <a:cxnLst>
                <a:cxn ang="0">
                  <a:pos x="connsiteX0" y="connsiteY0"/>
                </a:cxn>
                <a:cxn ang="0">
                  <a:pos x="connsiteX1" y="connsiteY1"/>
                </a:cxn>
                <a:cxn ang="0">
                  <a:pos x="connsiteX2" y="connsiteY2"/>
                </a:cxn>
                <a:cxn ang="0">
                  <a:pos x="connsiteX3" y="connsiteY3"/>
                </a:cxn>
              </a:cxnLst>
              <a:rect l="l" t="t" r="r" b="b"/>
              <a:pathLst>
                <a:path w="1065858" h="1060662">
                  <a:moveTo>
                    <a:pt x="1061006" y="0"/>
                  </a:moveTo>
                  <a:cubicBezTo>
                    <a:pt x="1063248" y="20905"/>
                    <a:pt x="1064741" y="41809"/>
                    <a:pt x="1065858" y="62342"/>
                  </a:cubicBezTo>
                  <a:lnTo>
                    <a:pt x="67196" y="1060662"/>
                  </a:lnTo>
                  <a:lnTo>
                    <a:pt x="0" y="1060662"/>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 name="Freeform: Shape 17">
              <a:extLst>
                <a:ext uri="{FF2B5EF4-FFF2-40B4-BE49-F238E27FC236}">
                  <a16:creationId xmlns:a16="http://schemas.microsoft.com/office/drawing/2014/main" id="{C96F2C24-1974-4A14-BD08-87F28469CFC4}"/>
                </a:ext>
              </a:extLst>
            </p:cNvPr>
            <p:cNvSpPr/>
            <p:nvPr/>
          </p:nvSpPr>
          <p:spPr>
            <a:xfrm>
              <a:off x="4381830" y="6039978"/>
              <a:ext cx="818022" cy="818022"/>
            </a:xfrm>
            <a:custGeom>
              <a:avLst/>
              <a:gdLst>
                <a:gd name="connsiteX0" fmla="*/ 818022 w 818022"/>
                <a:gd name="connsiteY0" fmla="*/ 0 h 818022"/>
                <a:gd name="connsiteX1" fmla="*/ 804584 w 818022"/>
                <a:gd name="connsiteY1" fmla="*/ 80632 h 818022"/>
                <a:gd name="connsiteX2" fmla="*/ 67190 w 818022"/>
                <a:gd name="connsiteY2" fmla="*/ 818022 h 818022"/>
                <a:gd name="connsiteX3" fmla="*/ 0 w 818022"/>
                <a:gd name="connsiteY3" fmla="*/ 818022 h 818022"/>
              </a:gdLst>
              <a:ahLst/>
              <a:cxnLst>
                <a:cxn ang="0">
                  <a:pos x="connsiteX0" y="connsiteY0"/>
                </a:cxn>
                <a:cxn ang="0">
                  <a:pos x="connsiteX1" y="connsiteY1"/>
                </a:cxn>
                <a:cxn ang="0">
                  <a:pos x="connsiteX2" y="connsiteY2"/>
                </a:cxn>
                <a:cxn ang="0">
                  <a:pos x="connsiteX3" y="connsiteY3"/>
                </a:cxn>
              </a:cxnLst>
              <a:rect l="l" t="t" r="r" b="b"/>
              <a:pathLst>
                <a:path w="818022" h="818022">
                  <a:moveTo>
                    <a:pt x="818022" y="0"/>
                  </a:moveTo>
                  <a:cubicBezTo>
                    <a:pt x="814660" y="27250"/>
                    <a:pt x="810180" y="53755"/>
                    <a:pt x="804584" y="80632"/>
                  </a:cubicBezTo>
                  <a:lnTo>
                    <a:pt x="67190" y="818022"/>
                  </a:lnTo>
                  <a:lnTo>
                    <a:pt x="0" y="818022"/>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9" name="Freeform: Shape 18">
              <a:extLst>
                <a:ext uri="{FF2B5EF4-FFF2-40B4-BE49-F238E27FC236}">
                  <a16:creationId xmlns:a16="http://schemas.microsoft.com/office/drawing/2014/main" id="{6A4424CD-BBD4-45CD-B514-589708B8F50B}"/>
                </a:ext>
              </a:extLst>
            </p:cNvPr>
            <p:cNvSpPr/>
            <p:nvPr/>
          </p:nvSpPr>
          <p:spPr>
            <a:xfrm>
              <a:off x="4647375" y="6390131"/>
              <a:ext cx="442354" cy="442354"/>
            </a:xfrm>
            <a:custGeom>
              <a:avLst/>
              <a:gdLst>
                <a:gd name="connsiteX0" fmla="*/ 112871 w 112871"/>
                <a:gd name="connsiteY0" fmla="*/ 0 h 112871"/>
                <a:gd name="connsiteX1" fmla="*/ 0 w 112871"/>
                <a:gd name="connsiteY1" fmla="*/ 112871 h 112871"/>
              </a:gdLst>
              <a:ahLst/>
              <a:cxnLst>
                <a:cxn ang="0">
                  <a:pos x="connsiteX0" y="connsiteY0"/>
                </a:cxn>
                <a:cxn ang="0">
                  <a:pos x="connsiteX1" y="connsiteY1"/>
                </a:cxn>
              </a:cxnLst>
              <a:rect l="l" t="t" r="r" b="b"/>
              <a:pathLst>
                <a:path w="112871" h="112871">
                  <a:moveTo>
                    <a:pt x="112871" y="0"/>
                  </a:moveTo>
                  <a:cubicBezTo>
                    <a:pt x="87618" y="48239"/>
                    <a:pt x="48239" y="87618"/>
                    <a:pt x="0" y="112871"/>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grpSp>
      <p:sp>
        <p:nvSpPr>
          <p:cNvPr id="30" name="Title 1">
            <a:extLst>
              <a:ext uri="{FF2B5EF4-FFF2-40B4-BE49-F238E27FC236}">
                <a16:creationId xmlns:a16="http://schemas.microsoft.com/office/drawing/2014/main" id="{910615CB-FBDD-424F-8ADD-978583CED990}"/>
              </a:ext>
            </a:extLst>
          </p:cNvPr>
          <p:cNvSpPr>
            <a:spLocks noGrp="1"/>
          </p:cNvSpPr>
          <p:nvPr>
            <p:ph type="title" hasCustomPrompt="1"/>
          </p:nvPr>
        </p:nvSpPr>
        <p:spPr>
          <a:xfrm>
            <a:off x="1292868" y="358614"/>
            <a:ext cx="4150804" cy="1431000"/>
          </a:xfrm>
        </p:spPr>
        <p:txBody>
          <a:bodyPr anchor="t"/>
          <a:lstStyle>
            <a:lvl1pPr>
              <a:defRPr/>
            </a:lvl1pPr>
          </a:lstStyle>
          <a:p>
            <a:r>
              <a:rPr lang="en-US" dirty="0"/>
              <a:t>Click to add title</a:t>
            </a:r>
          </a:p>
        </p:txBody>
      </p:sp>
      <p:sp>
        <p:nvSpPr>
          <p:cNvPr id="24" name="Text Placeholder 23">
            <a:extLst>
              <a:ext uri="{FF2B5EF4-FFF2-40B4-BE49-F238E27FC236}">
                <a16:creationId xmlns:a16="http://schemas.microsoft.com/office/drawing/2014/main" id="{85B7C0E5-3D24-4DFB-A690-9F48FFF835BB}"/>
              </a:ext>
            </a:extLst>
          </p:cNvPr>
          <p:cNvSpPr>
            <a:spLocks noGrp="1"/>
          </p:cNvSpPr>
          <p:nvPr>
            <p:ph type="body" sz="quarter" idx="13" hasCustomPrompt="1"/>
          </p:nvPr>
        </p:nvSpPr>
        <p:spPr>
          <a:xfrm>
            <a:off x="1691325" y="2014538"/>
            <a:ext cx="4307160" cy="518874"/>
          </a:xfrm>
        </p:spPr>
        <p:txBody>
          <a:bodyPr/>
          <a:lstStyle>
            <a:lvl1pPr>
              <a:buNone/>
              <a:defRPr b="1"/>
            </a:lvl1pPr>
          </a:lstStyle>
          <a:p>
            <a:pPr lvl="0"/>
            <a:r>
              <a:rPr lang="en-US" dirty="0"/>
              <a:t>Click to add title</a:t>
            </a:r>
          </a:p>
        </p:txBody>
      </p:sp>
      <p:sp>
        <p:nvSpPr>
          <p:cNvPr id="26" name="Text Placeholder 25">
            <a:extLst>
              <a:ext uri="{FF2B5EF4-FFF2-40B4-BE49-F238E27FC236}">
                <a16:creationId xmlns:a16="http://schemas.microsoft.com/office/drawing/2014/main" id="{793E2773-9306-412E-962B-7E07A98F86E1}"/>
              </a:ext>
            </a:extLst>
          </p:cNvPr>
          <p:cNvSpPr>
            <a:spLocks noGrp="1"/>
          </p:cNvSpPr>
          <p:nvPr>
            <p:ph type="body" sz="quarter" idx="14" hasCustomPrompt="1"/>
          </p:nvPr>
        </p:nvSpPr>
        <p:spPr>
          <a:xfrm>
            <a:off x="1691325" y="2666318"/>
            <a:ext cx="4307160" cy="3295650"/>
          </a:xfrm>
        </p:spPr>
        <p:txBody>
          <a:bodyPr>
            <a:normAutofit/>
          </a:bodyPr>
          <a:lstStyle>
            <a:lvl1pPr>
              <a:buFont typeface="Arial" panose="020B0604020202020204" pitchFamily="34" charset="0"/>
              <a:buChar char="•"/>
              <a:defRPr sz="1800"/>
            </a:lvl1pPr>
            <a:lvl2pPr>
              <a:buNone/>
              <a:defRPr/>
            </a:lvl2pPr>
            <a:lvl3pPr>
              <a:buNone/>
              <a:defRPr/>
            </a:lvl3pPr>
            <a:lvl4pPr>
              <a:buNone/>
              <a:defRPr/>
            </a:lvl4pPr>
            <a:lvl5pPr>
              <a:buNone/>
              <a:defRPr/>
            </a:lvl5pPr>
          </a:lstStyle>
          <a:p>
            <a:pPr lvl="0"/>
            <a:r>
              <a:rPr lang="en-US" dirty="0"/>
              <a:t>Click to add text</a:t>
            </a:r>
          </a:p>
        </p:txBody>
      </p:sp>
      <p:sp>
        <p:nvSpPr>
          <p:cNvPr id="27" name="Text Placeholder 23">
            <a:extLst>
              <a:ext uri="{FF2B5EF4-FFF2-40B4-BE49-F238E27FC236}">
                <a16:creationId xmlns:a16="http://schemas.microsoft.com/office/drawing/2014/main" id="{74AEFB0F-EDEB-4CE7-BF8A-58F8F86FCFF8}"/>
              </a:ext>
            </a:extLst>
          </p:cNvPr>
          <p:cNvSpPr>
            <a:spLocks noGrp="1"/>
          </p:cNvSpPr>
          <p:nvPr>
            <p:ph type="body" sz="quarter" idx="15" hasCustomPrompt="1"/>
          </p:nvPr>
        </p:nvSpPr>
        <p:spPr>
          <a:xfrm>
            <a:off x="6317484" y="2014538"/>
            <a:ext cx="4307160" cy="518874"/>
          </a:xfrm>
        </p:spPr>
        <p:txBody>
          <a:bodyPr/>
          <a:lstStyle>
            <a:lvl1pPr>
              <a:buNone/>
              <a:defRPr b="1"/>
            </a:lvl1pPr>
          </a:lstStyle>
          <a:p>
            <a:pPr lvl="0"/>
            <a:r>
              <a:rPr lang="en-US" dirty="0"/>
              <a:t>Click to add title</a:t>
            </a:r>
          </a:p>
        </p:txBody>
      </p:sp>
      <p:sp>
        <p:nvSpPr>
          <p:cNvPr id="28" name="Text Placeholder 25">
            <a:extLst>
              <a:ext uri="{FF2B5EF4-FFF2-40B4-BE49-F238E27FC236}">
                <a16:creationId xmlns:a16="http://schemas.microsoft.com/office/drawing/2014/main" id="{94619FC5-B03D-4276-8DBC-914C0A25B451}"/>
              </a:ext>
            </a:extLst>
          </p:cNvPr>
          <p:cNvSpPr>
            <a:spLocks noGrp="1"/>
          </p:cNvSpPr>
          <p:nvPr>
            <p:ph type="body" sz="quarter" idx="16" hasCustomPrompt="1"/>
          </p:nvPr>
        </p:nvSpPr>
        <p:spPr>
          <a:xfrm>
            <a:off x="6317484" y="2666318"/>
            <a:ext cx="4307160" cy="3295650"/>
          </a:xfrm>
        </p:spPr>
        <p:txBody>
          <a:bodyPr>
            <a:normAutofit/>
          </a:bodyPr>
          <a:lstStyle>
            <a:lvl1pPr>
              <a:buFont typeface="Arial" panose="020B0604020202020204" pitchFamily="34" charset="0"/>
              <a:buChar char="•"/>
              <a:defRPr sz="1800"/>
            </a:lvl1pPr>
            <a:lvl2pPr>
              <a:buNone/>
              <a:defRPr/>
            </a:lvl2pPr>
            <a:lvl3pPr>
              <a:buNone/>
              <a:defRPr/>
            </a:lvl3pPr>
            <a:lvl4pPr>
              <a:buNone/>
              <a:defRPr/>
            </a:lvl4pPr>
            <a:lvl5pPr>
              <a:buNone/>
              <a:defRPr/>
            </a:lvl5pPr>
          </a:lstStyle>
          <a:p>
            <a:pPr lvl="0"/>
            <a:r>
              <a:rPr lang="en-US" dirty="0"/>
              <a:t>Click to add text</a:t>
            </a:r>
          </a:p>
        </p:txBody>
      </p:sp>
      <p:sp>
        <p:nvSpPr>
          <p:cNvPr id="20" name="Date Placeholder 178">
            <a:extLst>
              <a:ext uri="{FF2B5EF4-FFF2-40B4-BE49-F238E27FC236}">
                <a16:creationId xmlns:a16="http://schemas.microsoft.com/office/drawing/2014/main" id="{0074F3C0-04F3-47D1-A460-C08BEEEF6598}"/>
              </a:ext>
            </a:extLst>
          </p:cNvPr>
          <p:cNvSpPr>
            <a:spLocks noGrp="1"/>
          </p:cNvSpPr>
          <p:nvPr>
            <p:ph type="dt" sz="half" idx="10"/>
          </p:nvPr>
        </p:nvSpPr>
        <p:spPr>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a:ln>
                  <a:noFill/>
                </a:ln>
                <a:solidFill>
                  <a:prstClr val="black">
                    <a:tint val="75000"/>
                  </a:prstClr>
                </a:solidFill>
                <a:effectLst/>
                <a:uLnTx/>
                <a:uFillTx/>
                <a:latin typeface="Source Sans Pro"/>
                <a:cs typeface="+mn-cs"/>
              </a:rPr>
              <a:t>2/1/20XX</a:t>
            </a:r>
            <a:endParaRPr kumimoji="0" lang="en-US" sz="1200" b="1" i="0" u="none" strike="noStrike" kern="1200" cap="all" spc="100" normalizeH="0" baseline="0" noProof="0" dirty="0">
              <a:ln>
                <a:noFill/>
              </a:ln>
              <a:solidFill>
                <a:prstClr val="black">
                  <a:tint val="75000"/>
                </a:prstClr>
              </a:solidFill>
              <a:effectLst/>
              <a:uLnTx/>
              <a:uFillTx/>
              <a:latin typeface="Source Sans Pro"/>
              <a:cs typeface="+mn-cs"/>
            </a:endParaRPr>
          </a:p>
        </p:txBody>
      </p:sp>
      <p:sp>
        <p:nvSpPr>
          <p:cNvPr id="21" name="Footer Placeholder 179">
            <a:extLst>
              <a:ext uri="{FF2B5EF4-FFF2-40B4-BE49-F238E27FC236}">
                <a16:creationId xmlns:a16="http://schemas.microsoft.com/office/drawing/2014/main" id="{758A3ACE-AE1A-4D02-81AA-F028A49496C9}"/>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dirty="0">
                <a:ln>
                  <a:noFill/>
                </a:ln>
                <a:solidFill>
                  <a:prstClr val="black">
                    <a:tint val="75000"/>
                  </a:prstClr>
                </a:solidFill>
                <a:effectLst/>
                <a:uLnTx/>
                <a:uFillTx/>
                <a:latin typeface="Source Sans Pro"/>
                <a:cs typeface="+mn-cs"/>
              </a:rPr>
              <a:t>PRESENTATION TITLE</a:t>
            </a:r>
          </a:p>
        </p:txBody>
      </p:sp>
      <p:sp>
        <p:nvSpPr>
          <p:cNvPr id="22" name="Slide Number Placeholder 180">
            <a:extLst>
              <a:ext uri="{FF2B5EF4-FFF2-40B4-BE49-F238E27FC236}">
                <a16:creationId xmlns:a16="http://schemas.microsoft.com/office/drawing/2014/main" id="{7E96438A-49EF-4161-928A-5483E9D633EE}"/>
              </a:ext>
            </a:extLst>
          </p:cNvPr>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792F7-1D9E-4C7E-A103-E8EDFDC2691E}" type="slidenum">
              <a:rPr kumimoji="0" lang="en-US" sz="1200" b="1" i="0" u="none" strike="noStrike" kern="1200" cap="all" spc="100" normalizeH="0" baseline="0" noProof="0" smtClean="0">
                <a:ln>
                  <a:noFill/>
                </a:ln>
                <a:solidFill>
                  <a:prstClr val="black">
                    <a:tint val="75000"/>
                  </a:prstClr>
                </a:solidFill>
                <a:effectLst/>
                <a:uLnTx/>
                <a:uFillTx/>
                <a:latin typeface="Source Sans Pro"/>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all" spc="100" normalizeH="0" baseline="0" noProof="0" dirty="0">
              <a:ln>
                <a:noFill/>
              </a:ln>
              <a:solidFill>
                <a:prstClr val="black">
                  <a:tint val="75000"/>
                </a:prstClr>
              </a:solidFill>
              <a:effectLst/>
              <a:uLnTx/>
              <a:uFillTx/>
              <a:latin typeface="Source Sans Pro"/>
              <a:cs typeface="+mn-cs"/>
            </a:endParaRPr>
          </a:p>
        </p:txBody>
      </p:sp>
      <p:grpSp>
        <p:nvGrpSpPr>
          <p:cNvPr id="35" name="Graphic 38">
            <a:extLst>
              <a:ext uri="{FF2B5EF4-FFF2-40B4-BE49-F238E27FC236}">
                <a16:creationId xmlns:a16="http://schemas.microsoft.com/office/drawing/2014/main" id="{E323AC62-66C0-48E7-B7EF-4D2DFBE292DE}"/>
              </a:ext>
              <a:ext uri="{C183D7F6-B498-43B3-948B-1728B52AA6E4}">
                <adec:decorative xmlns:adec="http://schemas.microsoft.com/office/drawing/2017/decorative" val="1"/>
              </a:ext>
            </a:extLst>
          </p:cNvPr>
          <p:cNvGrpSpPr/>
          <p:nvPr userDrawn="1"/>
        </p:nvGrpSpPr>
        <p:grpSpPr>
          <a:xfrm>
            <a:off x="5983704" y="400019"/>
            <a:ext cx="1910252" cy="709661"/>
            <a:chOff x="2267504" y="2540250"/>
            <a:chExt cx="1990951" cy="739641"/>
          </a:xfrm>
          <a:solidFill>
            <a:schemeClr val="tx2"/>
          </a:solidFill>
        </p:grpSpPr>
        <p:sp>
          <p:nvSpPr>
            <p:cNvPr id="36" name="Freeform: Shape 35">
              <a:extLst>
                <a:ext uri="{FF2B5EF4-FFF2-40B4-BE49-F238E27FC236}">
                  <a16:creationId xmlns:a16="http://schemas.microsoft.com/office/drawing/2014/main" id="{302667A9-FF11-4B3D-8F03-D1CBEC1100E4}"/>
                </a:ext>
              </a:extLst>
            </p:cNvPr>
            <p:cNvSpPr/>
            <p:nvPr/>
          </p:nvSpPr>
          <p:spPr>
            <a:xfrm>
              <a:off x="2267504" y="254025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5835 h 286230"/>
                <a:gd name="connsiteX8" fmla="*/ 255835 w 1990951"/>
                <a:gd name="connsiteY8" fmla="*/ 0 h 286230"/>
                <a:gd name="connsiteX9" fmla="*/ 504071 w 1990951"/>
                <a:gd name="connsiteY9" fmla="*/ 245703 h 286230"/>
                <a:gd name="connsiteX10" fmla="*/ 749773 w 1990951"/>
                <a:gd name="connsiteY10" fmla="*/ 0 h 286230"/>
                <a:gd name="connsiteX11" fmla="*/ 995476 w 1990951"/>
                <a:gd name="connsiteY11" fmla="*/ 245703 h 286230"/>
                <a:gd name="connsiteX12" fmla="*/ 1243712 w 1990951"/>
                <a:gd name="connsiteY12" fmla="*/ 0 h 286230"/>
                <a:gd name="connsiteX13" fmla="*/ 1489414 w 1990951"/>
                <a:gd name="connsiteY13" fmla="*/ 245703 h 286230"/>
                <a:gd name="connsiteX14" fmla="*/ 1735117 w 1990951"/>
                <a:gd name="connsiteY14" fmla="*/ 0 h 286230"/>
                <a:gd name="connsiteX15" fmla="*/ 1990952 w 1990951"/>
                <a:gd name="connsiteY15" fmla="*/ 255835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5835"/>
                  </a:lnTo>
                  <a:lnTo>
                    <a:pt x="255835" y="0"/>
                  </a:lnTo>
                  <a:lnTo>
                    <a:pt x="504071" y="245703"/>
                  </a:lnTo>
                  <a:lnTo>
                    <a:pt x="749773" y="0"/>
                  </a:lnTo>
                  <a:lnTo>
                    <a:pt x="995476" y="245703"/>
                  </a:lnTo>
                  <a:lnTo>
                    <a:pt x="1243712" y="0"/>
                  </a:lnTo>
                  <a:lnTo>
                    <a:pt x="1489414" y="245703"/>
                  </a:lnTo>
                  <a:lnTo>
                    <a:pt x="1735117" y="0"/>
                  </a:lnTo>
                  <a:lnTo>
                    <a:pt x="1990952" y="255835"/>
                  </a:lnTo>
                  <a:lnTo>
                    <a:pt x="1973221" y="276099"/>
                  </a:lnTo>
                  <a:lnTo>
                    <a:pt x="1735117" y="40528"/>
                  </a:lnTo>
                  <a:close/>
                </a:path>
              </a:pathLst>
            </a:custGeom>
            <a:grpFill/>
            <a:ln w="253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7" name="Freeform: Shape 36">
              <a:extLst>
                <a:ext uri="{FF2B5EF4-FFF2-40B4-BE49-F238E27FC236}">
                  <a16:creationId xmlns:a16="http://schemas.microsoft.com/office/drawing/2014/main" id="{62526CF3-68B0-4678-9FF1-C4074D92C0B3}"/>
                </a:ext>
              </a:extLst>
            </p:cNvPr>
            <p:cNvSpPr/>
            <p:nvPr/>
          </p:nvSpPr>
          <p:spPr>
            <a:xfrm>
              <a:off x="2267504" y="299366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8368 h 286230"/>
                <a:gd name="connsiteX8" fmla="*/ 255835 w 1990951"/>
                <a:gd name="connsiteY8" fmla="*/ 0 h 286230"/>
                <a:gd name="connsiteX9" fmla="*/ 504071 w 1990951"/>
                <a:gd name="connsiteY9" fmla="*/ 248236 h 286230"/>
                <a:gd name="connsiteX10" fmla="*/ 749773 w 1990951"/>
                <a:gd name="connsiteY10" fmla="*/ 0 h 286230"/>
                <a:gd name="connsiteX11" fmla="*/ 995476 w 1990951"/>
                <a:gd name="connsiteY11" fmla="*/ 248236 h 286230"/>
                <a:gd name="connsiteX12" fmla="*/ 1243712 w 1990951"/>
                <a:gd name="connsiteY12" fmla="*/ 0 h 286230"/>
                <a:gd name="connsiteX13" fmla="*/ 1489414 w 1990951"/>
                <a:gd name="connsiteY13" fmla="*/ 248236 h 286230"/>
                <a:gd name="connsiteX14" fmla="*/ 1735117 w 1990951"/>
                <a:gd name="connsiteY14" fmla="*/ 0 h 286230"/>
                <a:gd name="connsiteX15" fmla="*/ 1990952 w 1990951"/>
                <a:gd name="connsiteY15" fmla="*/ 258368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8368"/>
                  </a:lnTo>
                  <a:lnTo>
                    <a:pt x="255835" y="0"/>
                  </a:lnTo>
                  <a:lnTo>
                    <a:pt x="504071" y="248236"/>
                  </a:lnTo>
                  <a:lnTo>
                    <a:pt x="749773" y="0"/>
                  </a:lnTo>
                  <a:lnTo>
                    <a:pt x="995476" y="248236"/>
                  </a:lnTo>
                  <a:lnTo>
                    <a:pt x="1243712" y="0"/>
                  </a:lnTo>
                  <a:lnTo>
                    <a:pt x="1489414" y="248236"/>
                  </a:lnTo>
                  <a:lnTo>
                    <a:pt x="1735117" y="0"/>
                  </a:lnTo>
                  <a:lnTo>
                    <a:pt x="1990952" y="258368"/>
                  </a:lnTo>
                  <a:lnTo>
                    <a:pt x="1973221" y="276099"/>
                  </a:lnTo>
                  <a:lnTo>
                    <a:pt x="1735117" y="40528"/>
                  </a:lnTo>
                  <a:close/>
                </a:path>
              </a:pathLst>
            </a:custGeom>
            <a:grpFill/>
            <a:ln w="253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grpSp>
      <p:sp>
        <p:nvSpPr>
          <p:cNvPr id="3" name="Freeform: Shape 2">
            <a:extLst>
              <a:ext uri="{FF2B5EF4-FFF2-40B4-BE49-F238E27FC236}">
                <a16:creationId xmlns:a16="http://schemas.microsoft.com/office/drawing/2014/main" id="{C8FA80C5-0AF9-4E9E-9258-7928ED4DA6A2}"/>
              </a:ext>
              <a:ext uri="{C183D7F6-B498-43B3-948B-1728B52AA6E4}">
                <adec:decorative xmlns:adec="http://schemas.microsoft.com/office/drawing/2017/decorative" val="1"/>
              </a:ext>
            </a:extLst>
          </p:cNvPr>
          <p:cNvSpPr/>
          <p:nvPr userDrawn="1"/>
        </p:nvSpPr>
        <p:spPr>
          <a:xfrm rot="10800000">
            <a:off x="4221" y="-4221"/>
            <a:ext cx="1098147" cy="1053618"/>
          </a:xfrm>
          <a:custGeom>
            <a:avLst/>
            <a:gdLst>
              <a:gd name="connsiteX0" fmla="*/ 2473947 w 3432581"/>
              <a:gd name="connsiteY0" fmla="*/ 0 h 3293393"/>
              <a:gd name="connsiteX1" fmla="*/ 3209623 w 3432581"/>
              <a:gd name="connsiteY1" fmla="*/ 111224 h 3293393"/>
              <a:gd name="connsiteX2" fmla="*/ 3432581 w 3432581"/>
              <a:gd name="connsiteY2" fmla="*/ 192828 h 3293393"/>
              <a:gd name="connsiteX3" fmla="*/ 3432581 w 3432581"/>
              <a:gd name="connsiteY3" fmla="*/ 3293393 h 3293393"/>
              <a:gd name="connsiteX4" fmla="*/ 141884 w 3432581"/>
              <a:gd name="connsiteY4" fmla="*/ 3293393 h 3293393"/>
              <a:gd name="connsiteX5" fmla="*/ 111224 w 3432581"/>
              <a:gd name="connsiteY5" fmla="*/ 3209623 h 3293393"/>
              <a:gd name="connsiteX6" fmla="*/ 0 w 3432581"/>
              <a:gd name="connsiteY6" fmla="*/ 2473947 h 3293393"/>
              <a:gd name="connsiteX7" fmla="*/ 2473947 w 3432581"/>
              <a:gd name="connsiteY7" fmla="*/ 0 h 329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2581" h="3293393">
                <a:moveTo>
                  <a:pt x="2473947" y="0"/>
                </a:moveTo>
                <a:cubicBezTo>
                  <a:pt x="2730133" y="0"/>
                  <a:pt x="2977223" y="38940"/>
                  <a:pt x="3209623" y="111224"/>
                </a:cubicBezTo>
                <a:lnTo>
                  <a:pt x="3432581" y="192828"/>
                </a:lnTo>
                <a:lnTo>
                  <a:pt x="3432581" y="3293393"/>
                </a:lnTo>
                <a:lnTo>
                  <a:pt x="141884" y="3293393"/>
                </a:lnTo>
                <a:lnTo>
                  <a:pt x="111224" y="3209623"/>
                </a:lnTo>
                <a:cubicBezTo>
                  <a:pt x="38940" y="2977224"/>
                  <a:pt x="0" y="2730133"/>
                  <a:pt x="0" y="2473947"/>
                </a:cubicBezTo>
                <a:cubicBezTo>
                  <a:pt x="0" y="1107624"/>
                  <a:pt x="1107624" y="0"/>
                  <a:pt x="2473947" y="0"/>
                </a:cubicBezTo>
                <a:close/>
              </a:path>
            </a:pathLst>
          </a:custGeom>
          <a:solidFill>
            <a:schemeClr val="accent3">
              <a:alpha val="2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Tree>
    <p:extLst>
      <p:ext uri="{BB962C8B-B14F-4D97-AF65-F5344CB8AC3E}">
        <p14:creationId xmlns:p14="http://schemas.microsoft.com/office/powerpoint/2010/main" val="11276349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3 Column">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A7DC69EE-08C2-4573-A383-212F2152148A}"/>
              </a:ext>
              <a:ext uri="{C183D7F6-B498-43B3-948B-1728B52AA6E4}">
                <adec:decorative xmlns:adec="http://schemas.microsoft.com/office/drawing/2017/decorative" val="1"/>
              </a:ext>
            </a:extLst>
          </p:cNvPr>
          <p:cNvGrpSpPr/>
          <p:nvPr userDrawn="1"/>
        </p:nvGrpSpPr>
        <p:grpSpPr>
          <a:xfrm>
            <a:off x="8341223" y="5289452"/>
            <a:ext cx="1640977" cy="1568548"/>
            <a:chOff x="3121343" y="4864099"/>
            <a:chExt cx="2085971" cy="1993901"/>
          </a:xfrm>
          <a:solidFill>
            <a:schemeClr val="accent1">
              <a:alpha val="20000"/>
            </a:schemeClr>
          </a:solidFill>
        </p:grpSpPr>
        <p:sp>
          <p:nvSpPr>
            <p:cNvPr id="7" name="Freeform: Shape 6">
              <a:extLst>
                <a:ext uri="{FF2B5EF4-FFF2-40B4-BE49-F238E27FC236}">
                  <a16:creationId xmlns:a16="http://schemas.microsoft.com/office/drawing/2014/main" id="{8960DAF1-EA06-48DD-B352-E00071AE6AE5}"/>
                </a:ext>
              </a:extLst>
            </p:cNvPr>
            <p:cNvSpPr/>
            <p:nvPr/>
          </p:nvSpPr>
          <p:spPr>
            <a:xfrm>
              <a:off x="3238556" y="4981312"/>
              <a:ext cx="442726" cy="442726"/>
            </a:xfrm>
            <a:custGeom>
              <a:avLst/>
              <a:gdLst>
                <a:gd name="connsiteX0" fmla="*/ 112967 w 112966"/>
                <a:gd name="connsiteY0" fmla="*/ 0 h 112966"/>
                <a:gd name="connsiteX1" fmla="*/ 0 w 112966"/>
                <a:gd name="connsiteY1" fmla="*/ 112967 h 112966"/>
                <a:gd name="connsiteX2" fmla="*/ 112967 w 112966"/>
                <a:gd name="connsiteY2" fmla="*/ 0 h 112966"/>
              </a:gdLst>
              <a:ahLst/>
              <a:cxnLst>
                <a:cxn ang="0">
                  <a:pos x="connsiteX0" y="connsiteY0"/>
                </a:cxn>
                <a:cxn ang="0">
                  <a:pos x="connsiteX1" y="connsiteY1"/>
                </a:cxn>
                <a:cxn ang="0">
                  <a:pos x="connsiteX2" y="connsiteY2"/>
                </a:cxn>
              </a:cxnLst>
              <a:rect l="l" t="t" r="r" b="b"/>
              <a:pathLst>
                <a:path w="112966" h="112966">
                  <a:moveTo>
                    <a:pt x="112967" y="0"/>
                  </a:moveTo>
                  <a:lnTo>
                    <a:pt x="0" y="112967"/>
                  </a:lnTo>
                  <a:cubicBezTo>
                    <a:pt x="25356" y="64747"/>
                    <a:pt x="64747" y="25356"/>
                    <a:pt x="112967" y="0"/>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8" name="Freeform: Shape 7">
              <a:extLst>
                <a:ext uri="{FF2B5EF4-FFF2-40B4-BE49-F238E27FC236}">
                  <a16:creationId xmlns:a16="http://schemas.microsoft.com/office/drawing/2014/main" id="{3E04C944-590F-4E8A-93FD-114C635E06B1}"/>
                </a:ext>
              </a:extLst>
            </p:cNvPr>
            <p:cNvSpPr/>
            <p:nvPr/>
          </p:nvSpPr>
          <p:spPr>
            <a:xfrm>
              <a:off x="3128809" y="4871565"/>
              <a:ext cx="902626" cy="902626"/>
            </a:xfrm>
            <a:custGeom>
              <a:avLst/>
              <a:gdLst>
                <a:gd name="connsiteX0" fmla="*/ 230314 w 230314"/>
                <a:gd name="connsiteY0" fmla="*/ 0 h 230314"/>
                <a:gd name="connsiteX1" fmla="*/ 0 w 230314"/>
                <a:gd name="connsiteY1" fmla="*/ 230314 h 230314"/>
                <a:gd name="connsiteX2" fmla="*/ 3524 w 230314"/>
                <a:gd name="connsiteY2" fmla="*/ 209550 h 230314"/>
                <a:gd name="connsiteX3" fmla="*/ 209550 w 230314"/>
                <a:gd name="connsiteY3" fmla="*/ 3524 h 230314"/>
                <a:gd name="connsiteX4" fmla="*/ 230314 w 230314"/>
                <a:gd name="connsiteY4" fmla="*/ 0 h 23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14" h="230314">
                  <a:moveTo>
                    <a:pt x="230314" y="0"/>
                  </a:moveTo>
                  <a:lnTo>
                    <a:pt x="0" y="230314"/>
                  </a:lnTo>
                  <a:cubicBezTo>
                    <a:pt x="953" y="223361"/>
                    <a:pt x="2095" y="216408"/>
                    <a:pt x="3524" y="209550"/>
                  </a:cubicBezTo>
                  <a:lnTo>
                    <a:pt x="209550" y="3524"/>
                  </a:lnTo>
                  <a:cubicBezTo>
                    <a:pt x="216408" y="2095"/>
                    <a:pt x="223361" y="953"/>
                    <a:pt x="230314" y="0"/>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9" name="Freeform: Shape 8">
              <a:extLst>
                <a:ext uri="{FF2B5EF4-FFF2-40B4-BE49-F238E27FC236}">
                  <a16:creationId xmlns:a16="http://schemas.microsoft.com/office/drawing/2014/main" id="{F94F8F63-5843-4702-B051-4AB52DF7DE31}"/>
                </a:ext>
              </a:extLst>
            </p:cNvPr>
            <p:cNvSpPr/>
            <p:nvPr/>
          </p:nvSpPr>
          <p:spPr>
            <a:xfrm>
              <a:off x="3121343" y="4864099"/>
              <a:ext cx="1152732" cy="1152732"/>
            </a:xfrm>
            <a:custGeom>
              <a:avLst/>
              <a:gdLst>
                <a:gd name="connsiteX0" fmla="*/ 294132 w 294131"/>
                <a:gd name="connsiteY0" fmla="*/ 1238 h 294131"/>
                <a:gd name="connsiteX1" fmla="*/ 1238 w 294131"/>
                <a:gd name="connsiteY1" fmla="*/ 294132 h 294131"/>
                <a:gd name="connsiteX2" fmla="*/ 0 w 294131"/>
                <a:gd name="connsiteY2" fmla="*/ 278225 h 294131"/>
                <a:gd name="connsiteX3" fmla="*/ 278225 w 294131"/>
                <a:gd name="connsiteY3" fmla="*/ 0 h 294131"/>
                <a:gd name="connsiteX4" fmla="*/ 294132 w 294131"/>
                <a:gd name="connsiteY4" fmla="*/ 1238 h 294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131" h="294131">
                  <a:moveTo>
                    <a:pt x="294132" y="1238"/>
                  </a:moveTo>
                  <a:lnTo>
                    <a:pt x="1238" y="294132"/>
                  </a:lnTo>
                  <a:cubicBezTo>
                    <a:pt x="667" y="288893"/>
                    <a:pt x="0" y="283559"/>
                    <a:pt x="0" y="278225"/>
                  </a:cubicBezTo>
                  <a:lnTo>
                    <a:pt x="278225" y="0"/>
                  </a:lnTo>
                  <a:cubicBezTo>
                    <a:pt x="283559" y="0"/>
                    <a:pt x="288893" y="667"/>
                    <a:pt x="294132" y="1238"/>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0" name="Freeform: Shape 9">
              <a:extLst>
                <a:ext uri="{FF2B5EF4-FFF2-40B4-BE49-F238E27FC236}">
                  <a16:creationId xmlns:a16="http://schemas.microsoft.com/office/drawing/2014/main" id="{F00F67E0-08A5-41E9-96D4-346BDE562DA7}"/>
                </a:ext>
              </a:extLst>
            </p:cNvPr>
            <p:cNvSpPr/>
            <p:nvPr/>
          </p:nvSpPr>
          <p:spPr>
            <a:xfrm>
              <a:off x="3152324" y="4894707"/>
              <a:ext cx="1321462" cy="1321838"/>
            </a:xfrm>
            <a:custGeom>
              <a:avLst/>
              <a:gdLst>
                <a:gd name="connsiteX0" fmla="*/ 337185 w 337184"/>
                <a:gd name="connsiteY0" fmla="*/ 3905 h 337280"/>
                <a:gd name="connsiteX1" fmla="*/ 3810 w 337184"/>
                <a:gd name="connsiteY1" fmla="*/ 337280 h 337280"/>
                <a:gd name="connsiteX2" fmla="*/ 0 w 337184"/>
                <a:gd name="connsiteY2" fmla="*/ 323850 h 337280"/>
                <a:gd name="connsiteX3" fmla="*/ 323850 w 337184"/>
                <a:gd name="connsiteY3" fmla="*/ 0 h 337280"/>
                <a:gd name="connsiteX4" fmla="*/ 337185 w 337184"/>
                <a:gd name="connsiteY4" fmla="*/ 3905 h 33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184" h="337280">
                  <a:moveTo>
                    <a:pt x="337185" y="3905"/>
                  </a:moveTo>
                  <a:lnTo>
                    <a:pt x="3810" y="337280"/>
                  </a:lnTo>
                  <a:cubicBezTo>
                    <a:pt x="2381" y="332899"/>
                    <a:pt x="1143" y="328422"/>
                    <a:pt x="0" y="323850"/>
                  </a:cubicBezTo>
                  <a:lnTo>
                    <a:pt x="323850" y="0"/>
                  </a:lnTo>
                  <a:cubicBezTo>
                    <a:pt x="328327" y="1715"/>
                    <a:pt x="332804" y="2477"/>
                    <a:pt x="337185" y="3905"/>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1" name="Freeform: Shape 10">
              <a:extLst>
                <a:ext uri="{FF2B5EF4-FFF2-40B4-BE49-F238E27FC236}">
                  <a16:creationId xmlns:a16="http://schemas.microsoft.com/office/drawing/2014/main" id="{F519DAA4-AB34-40EA-B769-E99C70A02712}"/>
                </a:ext>
              </a:extLst>
            </p:cNvPr>
            <p:cNvSpPr/>
            <p:nvPr/>
          </p:nvSpPr>
          <p:spPr>
            <a:xfrm>
              <a:off x="3215037" y="4957793"/>
              <a:ext cx="1428975" cy="1428975"/>
            </a:xfrm>
            <a:custGeom>
              <a:avLst/>
              <a:gdLst>
                <a:gd name="connsiteX0" fmla="*/ 364617 w 364617"/>
                <a:gd name="connsiteY0" fmla="*/ 5620 h 364617"/>
                <a:gd name="connsiteX1" fmla="*/ 5620 w 364617"/>
                <a:gd name="connsiteY1" fmla="*/ 364617 h 364617"/>
                <a:gd name="connsiteX2" fmla="*/ 0 w 364617"/>
                <a:gd name="connsiteY2" fmla="*/ 353187 h 364617"/>
                <a:gd name="connsiteX3" fmla="*/ 353187 w 364617"/>
                <a:gd name="connsiteY3" fmla="*/ 0 h 364617"/>
                <a:gd name="connsiteX4" fmla="*/ 364617 w 364617"/>
                <a:gd name="connsiteY4" fmla="*/ 5620 h 364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7" h="364617">
                  <a:moveTo>
                    <a:pt x="364617" y="5620"/>
                  </a:moveTo>
                  <a:lnTo>
                    <a:pt x="5620" y="364617"/>
                  </a:lnTo>
                  <a:cubicBezTo>
                    <a:pt x="3620" y="360902"/>
                    <a:pt x="1715" y="357092"/>
                    <a:pt x="0" y="353187"/>
                  </a:cubicBezTo>
                  <a:lnTo>
                    <a:pt x="353187" y="0"/>
                  </a:lnTo>
                  <a:cubicBezTo>
                    <a:pt x="357092" y="1715"/>
                    <a:pt x="360902" y="3715"/>
                    <a:pt x="364617" y="5620"/>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2" name="Freeform: Shape 11">
              <a:extLst>
                <a:ext uri="{FF2B5EF4-FFF2-40B4-BE49-F238E27FC236}">
                  <a16:creationId xmlns:a16="http://schemas.microsoft.com/office/drawing/2014/main" id="{E546AAE8-9480-4504-B6E4-28190AA0C77C}"/>
                </a:ext>
              </a:extLst>
            </p:cNvPr>
            <p:cNvSpPr/>
            <p:nvPr/>
          </p:nvSpPr>
          <p:spPr>
            <a:xfrm>
              <a:off x="3301642" y="5044398"/>
              <a:ext cx="1490195" cy="1490195"/>
            </a:xfrm>
            <a:custGeom>
              <a:avLst/>
              <a:gdLst>
                <a:gd name="connsiteX0" fmla="*/ 380238 w 380238"/>
                <a:gd name="connsiteY0" fmla="*/ 7239 h 380238"/>
                <a:gd name="connsiteX1" fmla="*/ 7239 w 380238"/>
                <a:gd name="connsiteY1" fmla="*/ 380238 h 380238"/>
                <a:gd name="connsiteX2" fmla="*/ 0 w 380238"/>
                <a:gd name="connsiteY2" fmla="*/ 370713 h 380238"/>
                <a:gd name="connsiteX3" fmla="*/ 370237 w 380238"/>
                <a:gd name="connsiteY3" fmla="*/ 0 h 380238"/>
                <a:gd name="connsiteX4" fmla="*/ 380238 w 380238"/>
                <a:gd name="connsiteY4" fmla="*/ 7239 h 38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238" h="380238">
                  <a:moveTo>
                    <a:pt x="380238" y="7239"/>
                  </a:moveTo>
                  <a:lnTo>
                    <a:pt x="7239" y="380238"/>
                  </a:lnTo>
                  <a:cubicBezTo>
                    <a:pt x="4763" y="377000"/>
                    <a:pt x="2381" y="373571"/>
                    <a:pt x="0" y="370713"/>
                  </a:cubicBezTo>
                  <a:lnTo>
                    <a:pt x="370237" y="0"/>
                  </a:lnTo>
                  <a:cubicBezTo>
                    <a:pt x="373571" y="2381"/>
                    <a:pt x="377000" y="4763"/>
                    <a:pt x="380238" y="7239"/>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3" name="Freeform: Shape 12">
              <a:extLst>
                <a:ext uri="{FF2B5EF4-FFF2-40B4-BE49-F238E27FC236}">
                  <a16:creationId xmlns:a16="http://schemas.microsoft.com/office/drawing/2014/main" id="{2E52E878-0C0B-4CA9-B64D-8775E341FD09}"/>
                </a:ext>
              </a:extLst>
            </p:cNvPr>
            <p:cNvSpPr/>
            <p:nvPr/>
          </p:nvSpPr>
          <p:spPr>
            <a:xfrm>
              <a:off x="3409523" y="5152279"/>
              <a:ext cx="1509607" cy="1509607"/>
            </a:xfrm>
            <a:custGeom>
              <a:avLst/>
              <a:gdLst>
                <a:gd name="connsiteX0" fmla="*/ 380905 w 385191"/>
                <a:gd name="connsiteY0" fmla="*/ 4286 h 385191"/>
                <a:gd name="connsiteX1" fmla="*/ 385191 w 385191"/>
                <a:gd name="connsiteY1" fmla="*/ 8573 h 385191"/>
                <a:gd name="connsiteX2" fmla="*/ 8573 w 385191"/>
                <a:gd name="connsiteY2" fmla="*/ 385191 h 385191"/>
                <a:gd name="connsiteX3" fmla="*/ 4286 w 385191"/>
                <a:gd name="connsiteY3" fmla="*/ 380905 h 385191"/>
                <a:gd name="connsiteX4" fmla="*/ 0 w 385191"/>
                <a:gd name="connsiteY4" fmla="*/ 376523 h 385191"/>
                <a:gd name="connsiteX5" fmla="*/ 376523 w 385191"/>
                <a:gd name="connsiteY5" fmla="*/ 0 h 385191"/>
                <a:gd name="connsiteX6" fmla="*/ 380905 w 385191"/>
                <a:gd name="connsiteY6" fmla="*/ 4286 h 38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191" h="385191">
                  <a:moveTo>
                    <a:pt x="380905" y="4286"/>
                  </a:moveTo>
                  <a:lnTo>
                    <a:pt x="385191" y="8573"/>
                  </a:lnTo>
                  <a:lnTo>
                    <a:pt x="8573" y="385191"/>
                  </a:lnTo>
                  <a:lnTo>
                    <a:pt x="4286" y="380905"/>
                  </a:lnTo>
                  <a:cubicBezTo>
                    <a:pt x="2762" y="379476"/>
                    <a:pt x="1334" y="377952"/>
                    <a:pt x="0" y="376523"/>
                  </a:cubicBezTo>
                  <a:lnTo>
                    <a:pt x="376523" y="0"/>
                  </a:lnTo>
                  <a:cubicBezTo>
                    <a:pt x="377952" y="1334"/>
                    <a:pt x="379476" y="2667"/>
                    <a:pt x="380905" y="4286"/>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4" name="Freeform: Shape 13">
              <a:extLst>
                <a:ext uri="{FF2B5EF4-FFF2-40B4-BE49-F238E27FC236}">
                  <a16:creationId xmlns:a16="http://schemas.microsoft.com/office/drawing/2014/main" id="{698B443D-5774-4102-9897-9B19780930BF}"/>
                </a:ext>
              </a:extLst>
            </p:cNvPr>
            <p:cNvSpPr/>
            <p:nvPr/>
          </p:nvSpPr>
          <p:spPr>
            <a:xfrm>
              <a:off x="3538685" y="5279576"/>
              <a:ext cx="1488326" cy="1490192"/>
            </a:xfrm>
            <a:custGeom>
              <a:avLst/>
              <a:gdLst>
                <a:gd name="connsiteX0" fmla="*/ 372428 w 379761"/>
                <a:gd name="connsiteY0" fmla="*/ 0 h 380237"/>
                <a:gd name="connsiteX1" fmla="*/ 379762 w 379761"/>
                <a:gd name="connsiteY1" fmla="*/ 9525 h 380237"/>
                <a:gd name="connsiteX2" fmla="*/ 9525 w 379761"/>
                <a:gd name="connsiteY2" fmla="*/ 380238 h 380237"/>
                <a:gd name="connsiteX3" fmla="*/ 0 w 379761"/>
                <a:gd name="connsiteY3" fmla="*/ 372904 h 380237"/>
              </a:gdLst>
              <a:ahLst/>
              <a:cxnLst>
                <a:cxn ang="0">
                  <a:pos x="connsiteX0" y="connsiteY0"/>
                </a:cxn>
                <a:cxn ang="0">
                  <a:pos x="connsiteX1" y="connsiteY1"/>
                </a:cxn>
                <a:cxn ang="0">
                  <a:pos x="connsiteX2" y="connsiteY2"/>
                </a:cxn>
                <a:cxn ang="0">
                  <a:pos x="connsiteX3" y="connsiteY3"/>
                </a:cxn>
              </a:cxnLst>
              <a:rect l="l" t="t" r="r" b="b"/>
              <a:pathLst>
                <a:path w="379761" h="380237">
                  <a:moveTo>
                    <a:pt x="372428" y="0"/>
                  </a:moveTo>
                  <a:cubicBezTo>
                    <a:pt x="374999" y="3239"/>
                    <a:pt x="377381" y="6572"/>
                    <a:pt x="379762" y="9525"/>
                  </a:cubicBezTo>
                  <a:lnTo>
                    <a:pt x="9525" y="380238"/>
                  </a:lnTo>
                  <a:cubicBezTo>
                    <a:pt x="6096" y="377857"/>
                    <a:pt x="2762" y="375476"/>
                    <a:pt x="0" y="372904"/>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5" name="Freeform: Shape 14">
              <a:extLst>
                <a:ext uri="{FF2B5EF4-FFF2-40B4-BE49-F238E27FC236}">
                  <a16:creationId xmlns:a16="http://schemas.microsoft.com/office/drawing/2014/main" id="{CC166CC2-6EA4-420D-8132-C0188C96A19D}"/>
                </a:ext>
              </a:extLst>
            </p:cNvPr>
            <p:cNvSpPr/>
            <p:nvPr/>
          </p:nvSpPr>
          <p:spPr>
            <a:xfrm>
              <a:off x="3683896" y="5426652"/>
              <a:ext cx="1429720" cy="1429720"/>
            </a:xfrm>
            <a:custGeom>
              <a:avLst/>
              <a:gdLst>
                <a:gd name="connsiteX0" fmla="*/ 359188 w 364807"/>
                <a:gd name="connsiteY0" fmla="*/ 0 h 364807"/>
                <a:gd name="connsiteX1" fmla="*/ 364808 w 364807"/>
                <a:gd name="connsiteY1" fmla="*/ 11621 h 364807"/>
                <a:gd name="connsiteX2" fmla="*/ 11621 w 364807"/>
                <a:gd name="connsiteY2" fmla="*/ 364808 h 364807"/>
                <a:gd name="connsiteX3" fmla="*/ 0 w 364807"/>
                <a:gd name="connsiteY3" fmla="*/ 359188 h 364807"/>
              </a:gdLst>
              <a:ahLst/>
              <a:cxnLst>
                <a:cxn ang="0">
                  <a:pos x="connsiteX0" y="connsiteY0"/>
                </a:cxn>
                <a:cxn ang="0">
                  <a:pos x="connsiteX1" y="connsiteY1"/>
                </a:cxn>
                <a:cxn ang="0">
                  <a:pos x="connsiteX2" y="connsiteY2"/>
                </a:cxn>
                <a:cxn ang="0">
                  <a:pos x="connsiteX3" y="connsiteY3"/>
                </a:cxn>
              </a:cxnLst>
              <a:rect l="l" t="t" r="r" b="b"/>
              <a:pathLst>
                <a:path w="364807" h="364807">
                  <a:moveTo>
                    <a:pt x="359188" y="0"/>
                  </a:moveTo>
                  <a:cubicBezTo>
                    <a:pt x="361188" y="3905"/>
                    <a:pt x="362998" y="7715"/>
                    <a:pt x="364808" y="11621"/>
                  </a:cubicBezTo>
                  <a:lnTo>
                    <a:pt x="11621" y="364808"/>
                  </a:lnTo>
                  <a:cubicBezTo>
                    <a:pt x="7715" y="362998"/>
                    <a:pt x="3905" y="361188"/>
                    <a:pt x="0" y="359188"/>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6" name="Freeform: Shape 15">
              <a:extLst>
                <a:ext uri="{FF2B5EF4-FFF2-40B4-BE49-F238E27FC236}">
                  <a16:creationId xmlns:a16="http://schemas.microsoft.com/office/drawing/2014/main" id="{13398B68-EA12-44C5-BEB7-010640A8843C}"/>
                </a:ext>
              </a:extLst>
            </p:cNvPr>
            <p:cNvSpPr/>
            <p:nvPr/>
          </p:nvSpPr>
          <p:spPr>
            <a:xfrm>
              <a:off x="3901021" y="5597624"/>
              <a:ext cx="1275308" cy="1260376"/>
            </a:xfrm>
            <a:custGeom>
              <a:avLst/>
              <a:gdLst>
                <a:gd name="connsiteX0" fmla="*/ 1260376 w 1275308"/>
                <a:gd name="connsiteY0" fmla="*/ 0 h 1260376"/>
                <a:gd name="connsiteX1" fmla="*/ 1275308 w 1275308"/>
                <a:gd name="connsiteY1" fmla="*/ 52634 h 1260376"/>
                <a:gd name="connsiteX2" fmla="*/ 67566 w 1275308"/>
                <a:gd name="connsiteY2" fmla="*/ 1260376 h 1260376"/>
                <a:gd name="connsiteX3" fmla="*/ 0 w 1275308"/>
                <a:gd name="connsiteY3" fmla="*/ 1260376 h 1260376"/>
              </a:gdLst>
              <a:ahLst/>
              <a:cxnLst>
                <a:cxn ang="0">
                  <a:pos x="connsiteX0" y="connsiteY0"/>
                </a:cxn>
                <a:cxn ang="0">
                  <a:pos x="connsiteX1" y="connsiteY1"/>
                </a:cxn>
                <a:cxn ang="0">
                  <a:pos x="connsiteX2" y="connsiteY2"/>
                </a:cxn>
                <a:cxn ang="0">
                  <a:pos x="connsiteX3" y="connsiteY3"/>
                </a:cxn>
              </a:cxnLst>
              <a:rect l="l" t="t" r="r" b="b"/>
              <a:pathLst>
                <a:path w="1275308" h="1260376">
                  <a:moveTo>
                    <a:pt x="1260376" y="0"/>
                  </a:moveTo>
                  <a:cubicBezTo>
                    <a:pt x="1265977" y="17174"/>
                    <a:pt x="1270829" y="34716"/>
                    <a:pt x="1275308" y="52634"/>
                  </a:cubicBezTo>
                  <a:lnTo>
                    <a:pt x="67566" y="1260376"/>
                  </a:lnTo>
                  <a:lnTo>
                    <a:pt x="0" y="1260376"/>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7" name="Freeform: Shape 16">
              <a:extLst>
                <a:ext uri="{FF2B5EF4-FFF2-40B4-BE49-F238E27FC236}">
                  <a16:creationId xmlns:a16="http://schemas.microsoft.com/office/drawing/2014/main" id="{805BF01E-3423-4868-8B01-6ACF362BE933}"/>
                </a:ext>
              </a:extLst>
            </p:cNvPr>
            <p:cNvSpPr/>
            <p:nvPr/>
          </p:nvSpPr>
          <p:spPr>
            <a:xfrm>
              <a:off x="4141456" y="5797338"/>
              <a:ext cx="1065858" cy="1060662"/>
            </a:xfrm>
            <a:custGeom>
              <a:avLst/>
              <a:gdLst>
                <a:gd name="connsiteX0" fmla="*/ 1061006 w 1065858"/>
                <a:gd name="connsiteY0" fmla="*/ 0 h 1060662"/>
                <a:gd name="connsiteX1" fmla="*/ 1065858 w 1065858"/>
                <a:gd name="connsiteY1" fmla="*/ 62342 h 1060662"/>
                <a:gd name="connsiteX2" fmla="*/ 67196 w 1065858"/>
                <a:gd name="connsiteY2" fmla="*/ 1060662 h 1060662"/>
                <a:gd name="connsiteX3" fmla="*/ 0 w 1065858"/>
                <a:gd name="connsiteY3" fmla="*/ 1060662 h 1060662"/>
              </a:gdLst>
              <a:ahLst/>
              <a:cxnLst>
                <a:cxn ang="0">
                  <a:pos x="connsiteX0" y="connsiteY0"/>
                </a:cxn>
                <a:cxn ang="0">
                  <a:pos x="connsiteX1" y="connsiteY1"/>
                </a:cxn>
                <a:cxn ang="0">
                  <a:pos x="connsiteX2" y="connsiteY2"/>
                </a:cxn>
                <a:cxn ang="0">
                  <a:pos x="connsiteX3" y="connsiteY3"/>
                </a:cxn>
              </a:cxnLst>
              <a:rect l="l" t="t" r="r" b="b"/>
              <a:pathLst>
                <a:path w="1065858" h="1060662">
                  <a:moveTo>
                    <a:pt x="1061006" y="0"/>
                  </a:moveTo>
                  <a:cubicBezTo>
                    <a:pt x="1063248" y="20905"/>
                    <a:pt x="1064741" y="41809"/>
                    <a:pt x="1065858" y="62342"/>
                  </a:cubicBezTo>
                  <a:lnTo>
                    <a:pt x="67196" y="1060662"/>
                  </a:lnTo>
                  <a:lnTo>
                    <a:pt x="0" y="1060662"/>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 name="Freeform: Shape 17">
              <a:extLst>
                <a:ext uri="{FF2B5EF4-FFF2-40B4-BE49-F238E27FC236}">
                  <a16:creationId xmlns:a16="http://schemas.microsoft.com/office/drawing/2014/main" id="{12FC972F-3283-4FF2-97B4-1096B8A2F41F}"/>
                </a:ext>
              </a:extLst>
            </p:cNvPr>
            <p:cNvSpPr/>
            <p:nvPr/>
          </p:nvSpPr>
          <p:spPr>
            <a:xfrm>
              <a:off x="4381830" y="6039978"/>
              <a:ext cx="818022" cy="818022"/>
            </a:xfrm>
            <a:custGeom>
              <a:avLst/>
              <a:gdLst>
                <a:gd name="connsiteX0" fmla="*/ 818022 w 818022"/>
                <a:gd name="connsiteY0" fmla="*/ 0 h 818022"/>
                <a:gd name="connsiteX1" fmla="*/ 804584 w 818022"/>
                <a:gd name="connsiteY1" fmla="*/ 80632 h 818022"/>
                <a:gd name="connsiteX2" fmla="*/ 67190 w 818022"/>
                <a:gd name="connsiteY2" fmla="*/ 818022 h 818022"/>
                <a:gd name="connsiteX3" fmla="*/ 0 w 818022"/>
                <a:gd name="connsiteY3" fmla="*/ 818022 h 818022"/>
              </a:gdLst>
              <a:ahLst/>
              <a:cxnLst>
                <a:cxn ang="0">
                  <a:pos x="connsiteX0" y="connsiteY0"/>
                </a:cxn>
                <a:cxn ang="0">
                  <a:pos x="connsiteX1" y="connsiteY1"/>
                </a:cxn>
                <a:cxn ang="0">
                  <a:pos x="connsiteX2" y="connsiteY2"/>
                </a:cxn>
                <a:cxn ang="0">
                  <a:pos x="connsiteX3" y="connsiteY3"/>
                </a:cxn>
              </a:cxnLst>
              <a:rect l="l" t="t" r="r" b="b"/>
              <a:pathLst>
                <a:path w="818022" h="818022">
                  <a:moveTo>
                    <a:pt x="818022" y="0"/>
                  </a:moveTo>
                  <a:cubicBezTo>
                    <a:pt x="814660" y="27250"/>
                    <a:pt x="810180" y="53755"/>
                    <a:pt x="804584" y="80632"/>
                  </a:cubicBezTo>
                  <a:lnTo>
                    <a:pt x="67190" y="818022"/>
                  </a:lnTo>
                  <a:lnTo>
                    <a:pt x="0" y="818022"/>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9" name="Freeform: Shape 18">
              <a:extLst>
                <a:ext uri="{FF2B5EF4-FFF2-40B4-BE49-F238E27FC236}">
                  <a16:creationId xmlns:a16="http://schemas.microsoft.com/office/drawing/2014/main" id="{0A6C02E3-3094-499F-A339-CDF211F40AEC}"/>
                </a:ext>
              </a:extLst>
            </p:cNvPr>
            <p:cNvSpPr/>
            <p:nvPr/>
          </p:nvSpPr>
          <p:spPr>
            <a:xfrm>
              <a:off x="4647375" y="6390131"/>
              <a:ext cx="442354" cy="442354"/>
            </a:xfrm>
            <a:custGeom>
              <a:avLst/>
              <a:gdLst>
                <a:gd name="connsiteX0" fmla="*/ 112871 w 112871"/>
                <a:gd name="connsiteY0" fmla="*/ 0 h 112871"/>
                <a:gd name="connsiteX1" fmla="*/ 0 w 112871"/>
                <a:gd name="connsiteY1" fmla="*/ 112871 h 112871"/>
              </a:gdLst>
              <a:ahLst/>
              <a:cxnLst>
                <a:cxn ang="0">
                  <a:pos x="connsiteX0" y="connsiteY0"/>
                </a:cxn>
                <a:cxn ang="0">
                  <a:pos x="connsiteX1" y="connsiteY1"/>
                </a:cxn>
              </a:cxnLst>
              <a:rect l="l" t="t" r="r" b="b"/>
              <a:pathLst>
                <a:path w="112871" h="112871">
                  <a:moveTo>
                    <a:pt x="112871" y="0"/>
                  </a:moveTo>
                  <a:cubicBezTo>
                    <a:pt x="87618" y="48239"/>
                    <a:pt x="48239" y="87618"/>
                    <a:pt x="0" y="112871"/>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grpSp>
      <p:sp>
        <p:nvSpPr>
          <p:cNvPr id="39" name="Title 1">
            <a:extLst>
              <a:ext uri="{FF2B5EF4-FFF2-40B4-BE49-F238E27FC236}">
                <a16:creationId xmlns:a16="http://schemas.microsoft.com/office/drawing/2014/main" id="{D0C58A35-8A63-4692-8B63-9D9A21D8CC77}"/>
              </a:ext>
            </a:extLst>
          </p:cNvPr>
          <p:cNvSpPr>
            <a:spLocks noGrp="1"/>
          </p:cNvSpPr>
          <p:nvPr>
            <p:ph type="title" hasCustomPrompt="1"/>
          </p:nvPr>
        </p:nvSpPr>
        <p:spPr>
          <a:xfrm>
            <a:off x="1292868" y="358614"/>
            <a:ext cx="4150804" cy="1431000"/>
          </a:xfrm>
        </p:spPr>
        <p:txBody>
          <a:bodyPr anchor="t"/>
          <a:lstStyle>
            <a:lvl1pPr>
              <a:defRPr/>
            </a:lvl1pPr>
          </a:lstStyle>
          <a:p>
            <a:r>
              <a:rPr lang="en-US" dirty="0"/>
              <a:t>Click to add title</a:t>
            </a:r>
          </a:p>
        </p:txBody>
      </p:sp>
      <p:sp>
        <p:nvSpPr>
          <p:cNvPr id="29" name="Text Placeholder 23">
            <a:extLst>
              <a:ext uri="{FF2B5EF4-FFF2-40B4-BE49-F238E27FC236}">
                <a16:creationId xmlns:a16="http://schemas.microsoft.com/office/drawing/2014/main" id="{6FAB1B98-F750-4639-8CB7-0AE14F2222E5}"/>
              </a:ext>
            </a:extLst>
          </p:cNvPr>
          <p:cNvSpPr>
            <a:spLocks noGrp="1"/>
          </p:cNvSpPr>
          <p:nvPr>
            <p:ph type="body" sz="quarter" idx="13" hasCustomPrompt="1"/>
          </p:nvPr>
        </p:nvSpPr>
        <p:spPr>
          <a:xfrm>
            <a:off x="504392" y="2014538"/>
            <a:ext cx="3534208" cy="518874"/>
          </a:xfrm>
        </p:spPr>
        <p:txBody>
          <a:bodyPr/>
          <a:lstStyle>
            <a:lvl1pPr>
              <a:buNone/>
              <a:defRPr b="1"/>
            </a:lvl1pPr>
          </a:lstStyle>
          <a:p>
            <a:pPr lvl="0"/>
            <a:r>
              <a:rPr lang="en-US" dirty="0"/>
              <a:t>Click to add title</a:t>
            </a:r>
          </a:p>
        </p:txBody>
      </p:sp>
      <p:sp>
        <p:nvSpPr>
          <p:cNvPr id="30" name="Text Placeholder 25">
            <a:extLst>
              <a:ext uri="{FF2B5EF4-FFF2-40B4-BE49-F238E27FC236}">
                <a16:creationId xmlns:a16="http://schemas.microsoft.com/office/drawing/2014/main" id="{48E26416-085F-4E9B-87E9-A089A0F7E22C}"/>
              </a:ext>
            </a:extLst>
          </p:cNvPr>
          <p:cNvSpPr>
            <a:spLocks noGrp="1"/>
          </p:cNvSpPr>
          <p:nvPr>
            <p:ph type="body" sz="quarter" idx="14" hasCustomPrompt="1"/>
          </p:nvPr>
        </p:nvSpPr>
        <p:spPr>
          <a:xfrm>
            <a:off x="504392" y="2666318"/>
            <a:ext cx="3534208" cy="3295650"/>
          </a:xfrm>
        </p:spPr>
        <p:txBody>
          <a:bodyPr>
            <a:normAutofit/>
          </a:bodyPr>
          <a:lstStyle>
            <a:lvl1pPr>
              <a:buFont typeface="Arial" panose="020B0604020202020204" pitchFamily="34" charset="0"/>
              <a:buChar char="•"/>
              <a:defRPr sz="1800"/>
            </a:lvl1pPr>
            <a:lvl2pPr>
              <a:buNone/>
              <a:defRPr/>
            </a:lvl2pPr>
            <a:lvl3pPr>
              <a:buNone/>
              <a:defRPr/>
            </a:lvl3pPr>
            <a:lvl4pPr>
              <a:buNone/>
              <a:defRPr/>
            </a:lvl4pPr>
            <a:lvl5pPr>
              <a:buNone/>
              <a:defRPr/>
            </a:lvl5pPr>
          </a:lstStyle>
          <a:p>
            <a:pPr lvl="0"/>
            <a:r>
              <a:rPr lang="en-US" dirty="0"/>
              <a:t>Click to add text</a:t>
            </a:r>
          </a:p>
        </p:txBody>
      </p:sp>
      <p:sp>
        <p:nvSpPr>
          <p:cNvPr id="31" name="Text Placeholder 23">
            <a:extLst>
              <a:ext uri="{FF2B5EF4-FFF2-40B4-BE49-F238E27FC236}">
                <a16:creationId xmlns:a16="http://schemas.microsoft.com/office/drawing/2014/main" id="{3DD7FA1E-4F94-4135-9C82-99F5F49837C6}"/>
              </a:ext>
            </a:extLst>
          </p:cNvPr>
          <p:cNvSpPr>
            <a:spLocks noGrp="1"/>
          </p:cNvSpPr>
          <p:nvPr>
            <p:ph type="body" sz="quarter" idx="15" hasCustomPrompt="1"/>
          </p:nvPr>
        </p:nvSpPr>
        <p:spPr>
          <a:xfrm>
            <a:off x="4356809" y="2014538"/>
            <a:ext cx="3534208" cy="518874"/>
          </a:xfrm>
        </p:spPr>
        <p:txBody>
          <a:bodyPr/>
          <a:lstStyle>
            <a:lvl1pPr>
              <a:buNone/>
              <a:defRPr b="1"/>
            </a:lvl1pPr>
          </a:lstStyle>
          <a:p>
            <a:pPr lvl="0"/>
            <a:r>
              <a:rPr lang="en-US" dirty="0"/>
              <a:t>Click to add title</a:t>
            </a:r>
          </a:p>
        </p:txBody>
      </p:sp>
      <p:sp>
        <p:nvSpPr>
          <p:cNvPr id="32" name="Text Placeholder 25">
            <a:extLst>
              <a:ext uri="{FF2B5EF4-FFF2-40B4-BE49-F238E27FC236}">
                <a16:creationId xmlns:a16="http://schemas.microsoft.com/office/drawing/2014/main" id="{F7AA6B3E-2A7F-4C5B-A703-3DA981212918}"/>
              </a:ext>
            </a:extLst>
          </p:cNvPr>
          <p:cNvSpPr>
            <a:spLocks noGrp="1"/>
          </p:cNvSpPr>
          <p:nvPr>
            <p:ph type="body" sz="quarter" idx="16" hasCustomPrompt="1"/>
          </p:nvPr>
        </p:nvSpPr>
        <p:spPr>
          <a:xfrm>
            <a:off x="4356809" y="2666318"/>
            <a:ext cx="3534208" cy="3295650"/>
          </a:xfrm>
        </p:spPr>
        <p:txBody>
          <a:bodyPr>
            <a:normAutofit/>
          </a:bodyPr>
          <a:lstStyle>
            <a:lvl1pPr>
              <a:buFont typeface="Arial" panose="020B0604020202020204" pitchFamily="34" charset="0"/>
              <a:buChar char="•"/>
              <a:defRPr sz="1800"/>
            </a:lvl1pPr>
            <a:lvl2pPr>
              <a:buNone/>
              <a:defRPr/>
            </a:lvl2pPr>
            <a:lvl3pPr>
              <a:buNone/>
              <a:defRPr/>
            </a:lvl3pPr>
            <a:lvl4pPr>
              <a:buNone/>
              <a:defRPr/>
            </a:lvl4pPr>
            <a:lvl5pPr>
              <a:buNone/>
              <a:defRPr/>
            </a:lvl5pPr>
          </a:lstStyle>
          <a:p>
            <a:pPr lvl="0"/>
            <a:r>
              <a:rPr lang="en-US" dirty="0"/>
              <a:t>Click to add text</a:t>
            </a:r>
          </a:p>
        </p:txBody>
      </p:sp>
      <p:sp>
        <p:nvSpPr>
          <p:cNvPr id="33" name="Text Placeholder 23">
            <a:extLst>
              <a:ext uri="{FF2B5EF4-FFF2-40B4-BE49-F238E27FC236}">
                <a16:creationId xmlns:a16="http://schemas.microsoft.com/office/drawing/2014/main" id="{1A83EB8D-ED40-4BAC-80EE-11E74BA5D543}"/>
              </a:ext>
            </a:extLst>
          </p:cNvPr>
          <p:cNvSpPr>
            <a:spLocks noGrp="1"/>
          </p:cNvSpPr>
          <p:nvPr>
            <p:ph type="body" sz="quarter" idx="17" hasCustomPrompt="1"/>
          </p:nvPr>
        </p:nvSpPr>
        <p:spPr>
          <a:xfrm>
            <a:off x="8209226" y="2014538"/>
            <a:ext cx="3534208" cy="518874"/>
          </a:xfrm>
        </p:spPr>
        <p:txBody>
          <a:bodyPr/>
          <a:lstStyle>
            <a:lvl1pPr>
              <a:buNone/>
              <a:defRPr b="1"/>
            </a:lvl1pPr>
          </a:lstStyle>
          <a:p>
            <a:pPr lvl="0"/>
            <a:r>
              <a:rPr lang="en-US" dirty="0"/>
              <a:t>Click to add title</a:t>
            </a:r>
          </a:p>
        </p:txBody>
      </p:sp>
      <p:sp>
        <p:nvSpPr>
          <p:cNvPr id="34" name="Text Placeholder 25">
            <a:extLst>
              <a:ext uri="{FF2B5EF4-FFF2-40B4-BE49-F238E27FC236}">
                <a16:creationId xmlns:a16="http://schemas.microsoft.com/office/drawing/2014/main" id="{FAA48909-78A3-4225-8248-6AE681C50EA5}"/>
              </a:ext>
            </a:extLst>
          </p:cNvPr>
          <p:cNvSpPr>
            <a:spLocks noGrp="1"/>
          </p:cNvSpPr>
          <p:nvPr>
            <p:ph type="body" sz="quarter" idx="18" hasCustomPrompt="1"/>
          </p:nvPr>
        </p:nvSpPr>
        <p:spPr>
          <a:xfrm>
            <a:off x="8209226" y="2666318"/>
            <a:ext cx="3534208" cy="3295650"/>
          </a:xfrm>
        </p:spPr>
        <p:txBody>
          <a:bodyPr>
            <a:normAutofit/>
          </a:bodyPr>
          <a:lstStyle>
            <a:lvl1pPr>
              <a:buFont typeface="Arial" panose="020B0604020202020204" pitchFamily="34" charset="0"/>
              <a:buChar char="•"/>
              <a:defRPr sz="1800"/>
            </a:lvl1pPr>
            <a:lvl2pPr>
              <a:buNone/>
              <a:defRPr/>
            </a:lvl2pPr>
            <a:lvl3pPr>
              <a:buNone/>
              <a:defRPr/>
            </a:lvl3pPr>
            <a:lvl4pPr>
              <a:buNone/>
              <a:defRPr/>
            </a:lvl4pPr>
            <a:lvl5pPr>
              <a:buNone/>
              <a:defRPr/>
            </a:lvl5pPr>
          </a:lstStyle>
          <a:p>
            <a:pPr lvl="0"/>
            <a:r>
              <a:rPr lang="en-US" dirty="0"/>
              <a:t>Click to add text</a:t>
            </a:r>
          </a:p>
        </p:txBody>
      </p:sp>
      <p:sp>
        <p:nvSpPr>
          <p:cNvPr id="20" name="Date Placeholder 178">
            <a:extLst>
              <a:ext uri="{FF2B5EF4-FFF2-40B4-BE49-F238E27FC236}">
                <a16:creationId xmlns:a16="http://schemas.microsoft.com/office/drawing/2014/main" id="{AB1287EA-2C67-487A-8E0D-2B45F7A503ED}"/>
              </a:ext>
            </a:extLst>
          </p:cNvPr>
          <p:cNvSpPr>
            <a:spLocks noGrp="1"/>
          </p:cNvSpPr>
          <p:nvPr>
            <p:ph type="dt" sz="half" idx="10"/>
          </p:nvPr>
        </p:nvSpPr>
        <p:spPr>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a:ln>
                  <a:noFill/>
                </a:ln>
                <a:solidFill>
                  <a:prstClr val="black">
                    <a:tint val="75000"/>
                  </a:prstClr>
                </a:solidFill>
                <a:effectLst/>
                <a:uLnTx/>
                <a:uFillTx/>
                <a:latin typeface="Source Sans Pro"/>
                <a:cs typeface="+mn-cs"/>
              </a:rPr>
              <a:t>2/1/20XX</a:t>
            </a:r>
            <a:endParaRPr kumimoji="0" lang="en-US" sz="1200" b="1" i="0" u="none" strike="noStrike" kern="1200" cap="all" spc="100" normalizeH="0" baseline="0" noProof="0" dirty="0">
              <a:ln>
                <a:noFill/>
              </a:ln>
              <a:solidFill>
                <a:prstClr val="black">
                  <a:tint val="75000"/>
                </a:prstClr>
              </a:solidFill>
              <a:effectLst/>
              <a:uLnTx/>
              <a:uFillTx/>
              <a:latin typeface="Source Sans Pro"/>
              <a:cs typeface="+mn-cs"/>
            </a:endParaRPr>
          </a:p>
        </p:txBody>
      </p:sp>
      <p:sp>
        <p:nvSpPr>
          <p:cNvPr id="21" name="Footer Placeholder 179">
            <a:extLst>
              <a:ext uri="{FF2B5EF4-FFF2-40B4-BE49-F238E27FC236}">
                <a16:creationId xmlns:a16="http://schemas.microsoft.com/office/drawing/2014/main" id="{B33A6E73-75FC-4E5B-80C2-C4D6F49ED738}"/>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dirty="0">
                <a:ln>
                  <a:noFill/>
                </a:ln>
                <a:solidFill>
                  <a:prstClr val="black">
                    <a:tint val="75000"/>
                  </a:prstClr>
                </a:solidFill>
                <a:effectLst/>
                <a:uLnTx/>
                <a:uFillTx/>
                <a:latin typeface="Source Sans Pro"/>
                <a:cs typeface="+mn-cs"/>
              </a:rPr>
              <a:t>PRESENTATION TITLE</a:t>
            </a:r>
          </a:p>
        </p:txBody>
      </p:sp>
      <p:sp>
        <p:nvSpPr>
          <p:cNvPr id="22" name="Slide Number Placeholder 180">
            <a:extLst>
              <a:ext uri="{FF2B5EF4-FFF2-40B4-BE49-F238E27FC236}">
                <a16:creationId xmlns:a16="http://schemas.microsoft.com/office/drawing/2014/main" id="{77F3BA23-6B20-4DC1-A930-EC3BC07DD791}"/>
              </a:ext>
            </a:extLst>
          </p:cNvPr>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792F7-1D9E-4C7E-A103-E8EDFDC2691E}" type="slidenum">
              <a:rPr kumimoji="0" lang="en-US" sz="1200" b="1" i="0" u="none" strike="noStrike" kern="1200" cap="all" spc="100" normalizeH="0" baseline="0" noProof="0" smtClean="0">
                <a:ln>
                  <a:noFill/>
                </a:ln>
                <a:solidFill>
                  <a:prstClr val="black">
                    <a:tint val="75000"/>
                  </a:prstClr>
                </a:solidFill>
                <a:effectLst/>
                <a:uLnTx/>
                <a:uFillTx/>
                <a:latin typeface="Source Sans Pro"/>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all" spc="100" normalizeH="0" baseline="0" noProof="0" dirty="0">
              <a:ln>
                <a:noFill/>
              </a:ln>
              <a:solidFill>
                <a:prstClr val="black">
                  <a:tint val="75000"/>
                </a:prstClr>
              </a:solidFill>
              <a:effectLst/>
              <a:uLnTx/>
              <a:uFillTx/>
              <a:latin typeface="Source Sans Pro"/>
              <a:cs typeface="+mn-cs"/>
            </a:endParaRPr>
          </a:p>
        </p:txBody>
      </p:sp>
      <p:grpSp>
        <p:nvGrpSpPr>
          <p:cNvPr id="35" name="Graphic 38">
            <a:extLst>
              <a:ext uri="{FF2B5EF4-FFF2-40B4-BE49-F238E27FC236}">
                <a16:creationId xmlns:a16="http://schemas.microsoft.com/office/drawing/2014/main" id="{40939DF5-AC28-4DAD-BBF7-99448C2D5BEB}"/>
              </a:ext>
              <a:ext uri="{C183D7F6-B498-43B3-948B-1728B52AA6E4}">
                <adec:decorative xmlns:adec="http://schemas.microsoft.com/office/drawing/2017/decorative" val="1"/>
              </a:ext>
            </a:extLst>
          </p:cNvPr>
          <p:cNvGrpSpPr/>
          <p:nvPr userDrawn="1"/>
        </p:nvGrpSpPr>
        <p:grpSpPr>
          <a:xfrm>
            <a:off x="5983704" y="400019"/>
            <a:ext cx="1910252" cy="709661"/>
            <a:chOff x="2267504" y="2540250"/>
            <a:chExt cx="1990951" cy="739641"/>
          </a:xfrm>
          <a:solidFill>
            <a:schemeClr val="tx2"/>
          </a:solidFill>
        </p:grpSpPr>
        <p:sp>
          <p:nvSpPr>
            <p:cNvPr id="36" name="Freeform: Shape 35">
              <a:extLst>
                <a:ext uri="{FF2B5EF4-FFF2-40B4-BE49-F238E27FC236}">
                  <a16:creationId xmlns:a16="http://schemas.microsoft.com/office/drawing/2014/main" id="{EBCF1BD2-77CD-45E1-B77C-6235C19B5442}"/>
                </a:ext>
              </a:extLst>
            </p:cNvPr>
            <p:cNvSpPr/>
            <p:nvPr/>
          </p:nvSpPr>
          <p:spPr>
            <a:xfrm>
              <a:off x="2267504" y="254025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5835 h 286230"/>
                <a:gd name="connsiteX8" fmla="*/ 255835 w 1990951"/>
                <a:gd name="connsiteY8" fmla="*/ 0 h 286230"/>
                <a:gd name="connsiteX9" fmla="*/ 504071 w 1990951"/>
                <a:gd name="connsiteY9" fmla="*/ 245703 h 286230"/>
                <a:gd name="connsiteX10" fmla="*/ 749773 w 1990951"/>
                <a:gd name="connsiteY10" fmla="*/ 0 h 286230"/>
                <a:gd name="connsiteX11" fmla="*/ 995476 w 1990951"/>
                <a:gd name="connsiteY11" fmla="*/ 245703 h 286230"/>
                <a:gd name="connsiteX12" fmla="*/ 1243712 w 1990951"/>
                <a:gd name="connsiteY12" fmla="*/ 0 h 286230"/>
                <a:gd name="connsiteX13" fmla="*/ 1489414 w 1990951"/>
                <a:gd name="connsiteY13" fmla="*/ 245703 h 286230"/>
                <a:gd name="connsiteX14" fmla="*/ 1735117 w 1990951"/>
                <a:gd name="connsiteY14" fmla="*/ 0 h 286230"/>
                <a:gd name="connsiteX15" fmla="*/ 1990952 w 1990951"/>
                <a:gd name="connsiteY15" fmla="*/ 255835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5835"/>
                  </a:lnTo>
                  <a:lnTo>
                    <a:pt x="255835" y="0"/>
                  </a:lnTo>
                  <a:lnTo>
                    <a:pt x="504071" y="245703"/>
                  </a:lnTo>
                  <a:lnTo>
                    <a:pt x="749773" y="0"/>
                  </a:lnTo>
                  <a:lnTo>
                    <a:pt x="995476" y="245703"/>
                  </a:lnTo>
                  <a:lnTo>
                    <a:pt x="1243712" y="0"/>
                  </a:lnTo>
                  <a:lnTo>
                    <a:pt x="1489414" y="245703"/>
                  </a:lnTo>
                  <a:lnTo>
                    <a:pt x="1735117" y="0"/>
                  </a:lnTo>
                  <a:lnTo>
                    <a:pt x="1990952" y="255835"/>
                  </a:lnTo>
                  <a:lnTo>
                    <a:pt x="1973221" y="276099"/>
                  </a:lnTo>
                  <a:lnTo>
                    <a:pt x="1735117" y="40528"/>
                  </a:lnTo>
                  <a:close/>
                </a:path>
              </a:pathLst>
            </a:custGeom>
            <a:grpFill/>
            <a:ln w="253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7" name="Freeform: Shape 36">
              <a:extLst>
                <a:ext uri="{FF2B5EF4-FFF2-40B4-BE49-F238E27FC236}">
                  <a16:creationId xmlns:a16="http://schemas.microsoft.com/office/drawing/2014/main" id="{CE22D69D-860B-4567-9CE7-F30E5450A692}"/>
                </a:ext>
              </a:extLst>
            </p:cNvPr>
            <p:cNvSpPr/>
            <p:nvPr/>
          </p:nvSpPr>
          <p:spPr>
            <a:xfrm>
              <a:off x="2267504" y="299366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8368 h 286230"/>
                <a:gd name="connsiteX8" fmla="*/ 255835 w 1990951"/>
                <a:gd name="connsiteY8" fmla="*/ 0 h 286230"/>
                <a:gd name="connsiteX9" fmla="*/ 504071 w 1990951"/>
                <a:gd name="connsiteY9" fmla="*/ 248236 h 286230"/>
                <a:gd name="connsiteX10" fmla="*/ 749773 w 1990951"/>
                <a:gd name="connsiteY10" fmla="*/ 0 h 286230"/>
                <a:gd name="connsiteX11" fmla="*/ 995476 w 1990951"/>
                <a:gd name="connsiteY11" fmla="*/ 248236 h 286230"/>
                <a:gd name="connsiteX12" fmla="*/ 1243712 w 1990951"/>
                <a:gd name="connsiteY12" fmla="*/ 0 h 286230"/>
                <a:gd name="connsiteX13" fmla="*/ 1489414 w 1990951"/>
                <a:gd name="connsiteY13" fmla="*/ 248236 h 286230"/>
                <a:gd name="connsiteX14" fmla="*/ 1735117 w 1990951"/>
                <a:gd name="connsiteY14" fmla="*/ 0 h 286230"/>
                <a:gd name="connsiteX15" fmla="*/ 1990952 w 1990951"/>
                <a:gd name="connsiteY15" fmla="*/ 258368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8368"/>
                  </a:lnTo>
                  <a:lnTo>
                    <a:pt x="255835" y="0"/>
                  </a:lnTo>
                  <a:lnTo>
                    <a:pt x="504071" y="248236"/>
                  </a:lnTo>
                  <a:lnTo>
                    <a:pt x="749773" y="0"/>
                  </a:lnTo>
                  <a:lnTo>
                    <a:pt x="995476" y="248236"/>
                  </a:lnTo>
                  <a:lnTo>
                    <a:pt x="1243712" y="0"/>
                  </a:lnTo>
                  <a:lnTo>
                    <a:pt x="1489414" y="248236"/>
                  </a:lnTo>
                  <a:lnTo>
                    <a:pt x="1735117" y="0"/>
                  </a:lnTo>
                  <a:lnTo>
                    <a:pt x="1990952" y="258368"/>
                  </a:lnTo>
                  <a:lnTo>
                    <a:pt x="1973221" y="276099"/>
                  </a:lnTo>
                  <a:lnTo>
                    <a:pt x="1735117" y="40528"/>
                  </a:lnTo>
                  <a:close/>
                </a:path>
              </a:pathLst>
            </a:custGeom>
            <a:grpFill/>
            <a:ln w="253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grpSp>
      <p:sp>
        <p:nvSpPr>
          <p:cNvPr id="3" name="Freeform: Shape 2">
            <a:extLst>
              <a:ext uri="{FF2B5EF4-FFF2-40B4-BE49-F238E27FC236}">
                <a16:creationId xmlns:a16="http://schemas.microsoft.com/office/drawing/2014/main" id="{16820B48-F149-4E55-A3C5-C6D97DCB0EBE}"/>
              </a:ext>
              <a:ext uri="{C183D7F6-B498-43B3-948B-1728B52AA6E4}">
                <adec:decorative xmlns:adec="http://schemas.microsoft.com/office/drawing/2017/decorative" val="1"/>
              </a:ext>
            </a:extLst>
          </p:cNvPr>
          <p:cNvSpPr/>
          <p:nvPr userDrawn="1"/>
        </p:nvSpPr>
        <p:spPr>
          <a:xfrm rot="10800000">
            <a:off x="4221" y="-4221"/>
            <a:ext cx="1098147" cy="1053618"/>
          </a:xfrm>
          <a:custGeom>
            <a:avLst/>
            <a:gdLst>
              <a:gd name="connsiteX0" fmla="*/ 2473947 w 3432581"/>
              <a:gd name="connsiteY0" fmla="*/ 0 h 3293393"/>
              <a:gd name="connsiteX1" fmla="*/ 3209623 w 3432581"/>
              <a:gd name="connsiteY1" fmla="*/ 111224 h 3293393"/>
              <a:gd name="connsiteX2" fmla="*/ 3432581 w 3432581"/>
              <a:gd name="connsiteY2" fmla="*/ 192828 h 3293393"/>
              <a:gd name="connsiteX3" fmla="*/ 3432581 w 3432581"/>
              <a:gd name="connsiteY3" fmla="*/ 3293393 h 3293393"/>
              <a:gd name="connsiteX4" fmla="*/ 141884 w 3432581"/>
              <a:gd name="connsiteY4" fmla="*/ 3293393 h 3293393"/>
              <a:gd name="connsiteX5" fmla="*/ 111224 w 3432581"/>
              <a:gd name="connsiteY5" fmla="*/ 3209623 h 3293393"/>
              <a:gd name="connsiteX6" fmla="*/ 0 w 3432581"/>
              <a:gd name="connsiteY6" fmla="*/ 2473947 h 3293393"/>
              <a:gd name="connsiteX7" fmla="*/ 2473947 w 3432581"/>
              <a:gd name="connsiteY7" fmla="*/ 0 h 329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2581" h="3293393">
                <a:moveTo>
                  <a:pt x="2473947" y="0"/>
                </a:moveTo>
                <a:cubicBezTo>
                  <a:pt x="2730133" y="0"/>
                  <a:pt x="2977223" y="38940"/>
                  <a:pt x="3209623" y="111224"/>
                </a:cubicBezTo>
                <a:lnTo>
                  <a:pt x="3432581" y="192828"/>
                </a:lnTo>
                <a:lnTo>
                  <a:pt x="3432581" y="3293393"/>
                </a:lnTo>
                <a:lnTo>
                  <a:pt x="141884" y="3293393"/>
                </a:lnTo>
                <a:lnTo>
                  <a:pt x="111224" y="3209623"/>
                </a:lnTo>
                <a:cubicBezTo>
                  <a:pt x="38940" y="2977224"/>
                  <a:pt x="0" y="2730133"/>
                  <a:pt x="0" y="2473947"/>
                </a:cubicBezTo>
                <a:cubicBezTo>
                  <a:pt x="0" y="1107624"/>
                  <a:pt x="1107624" y="0"/>
                  <a:pt x="2473947" y="0"/>
                </a:cubicBezTo>
                <a:close/>
              </a:path>
            </a:pathLst>
          </a:custGeom>
          <a:solidFill>
            <a:schemeClr val="accent3">
              <a:alpha val="2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Tree>
    <p:extLst>
      <p:ext uri="{BB962C8B-B14F-4D97-AF65-F5344CB8AC3E}">
        <p14:creationId xmlns:p14="http://schemas.microsoft.com/office/powerpoint/2010/main" val="9757970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D2CDCAF-CD85-4662-A592-845D42A43C22}"/>
              </a:ext>
              <a:ext uri="{C183D7F6-B498-43B3-948B-1728B52AA6E4}">
                <adec:decorative xmlns:adec="http://schemas.microsoft.com/office/drawing/2017/decorative" val="1"/>
              </a:ext>
            </a:extLst>
          </p:cNvPr>
          <p:cNvGrpSpPr/>
          <p:nvPr userDrawn="1"/>
        </p:nvGrpSpPr>
        <p:grpSpPr>
          <a:xfrm>
            <a:off x="0" y="2"/>
            <a:ext cx="2232252" cy="2361890"/>
            <a:chOff x="0" y="2"/>
            <a:chExt cx="2232252" cy="2361890"/>
          </a:xfrm>
        </p:grpSpPr>
        <p:sp>
          <p:nvSpPr>
            <p:cNvPr id="3" name="Freeform: Shape 2">
              <a:extLst>
                <a:ext uri="{FF2B5EF4-FFF2-40B4-BE49-F238E27FC236}">
                  <a16:creationId xmlns:a16="http://schemas.microsoft.com/office/drawing/2014/main" id="{EFCE107D-488B-4994-BA9A-564E5774802E}"/>
                </a:ext>
                <a:ext uri="{C183D7F6-B498-43B3-948B-1728B52AA6E4}">
                  <adec:decorative xmlns:adec="http://schemas.microsoft.com/office/drawing/2017/decorative" val="1"/>
                </a:ext>
              </a:extLst>
            </p:cNvPr>
            <p:cNvSpPr/>
            <p:nvPr userDrawn="1"/>
          </p:nvSpPr>
          <p:spPr>
            <a:xfrm>
              <a:off x="1" y="2"/>
              <a:ext cx="2232251" cy="2361890"/>
            </a:xfrm>
            <a:custGeom>
              <a:avLst/>
              <a:gdLst>
                <a:gd name="connsiteX0" fmla="*/ 2292284 w 3871489"/>
                <a:gd name="connsiteY0" fmla="*/ 0 h 4096327"/>
                <a:gd name="connsiteX1" fmla="*/ 3500914 w 3871489"/>
                <a:gd name="connsiteY1" fmla="*/ 0 h 4096327"/>
                <a:gd name="connsiteX2" fmla="*/ 3542229 w 3871489"/>
                <a:gd name="connsiteY2" fmla="*/ 68006 h 4096327"/>
                <a:gd name="connsiteX3" fmla="*/ 3871489 w 3871489"/>
                <a:gd name="connsiteY3" fmla="*/ 1368323 h 4096327"/>
                <a:gd name="connsiteX4" fmla="*/ 1143485 w 3871489"/>
                <a:gd name="connsiteY4" fmla="*/ 4096327 h 4096327"/>
                <a:gd name="connsiteX5" fmla="*/ 81633 w 3871489"/>
                <a:gd name="connsiteY5" fmla="*/ 3881944 h 4096327"/>
                <a:gd name="connsiteX6" fmla="*/ 0 w 3871489"/>
                <a:gd name="connsiteY6" fmla="*/ 3842618 h 4096327"/>
                <a:gd name="connsiteX7" fmla="*/ 0 w 3871489"/>
                <a:gd name="connsiteY7" fmla="*/ 2741475 h 4096327"/>
                <a:gd name="connsiteX8" fmla="*/ 6615 w 3871489"/>
                <a:gd name="connsiteY8" fmla="*/ 2747487 h 4096327"/>
                <a:gd name="connsiteX9" fmla="*/ 1143485 w 3871489"/>
                <a:gd name="connsiteY9" fmla="*/ 3155655 h 4096327"/>
                <a:gd name="connsiteX10" fmla="*/ 2930817 w 3871489"/>
                <a:gd name="connsiteY10" fmla="*/ 1368323 h 4096327"/>
                <a:gd name="connsiteX11" fmla="*/ 2407287 w 3871489"/>
                <a:gd name="connsiteY11" fmla="*/ 104524 h 409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71489" h="4096327">
                  <a:moveTo>
                    <a:pt x="2292284" y="0"/>
                  </a:moveTo>
                  <a:lnTo>
                    <a:pt x="3500914" y="0"/>
                  </a:lnTo>
                  <a:lnTo>
                    <a:pt x="3542229" y="68006"/>
                  </a:lnTo>
                  <a:cubicBezTo>
                    <a:pt x="3752213" y="454545"/>
                    <a:pt x="3871489" y="897507"/>
                    <a:pt x="3871489" y="1368323"/>
                  </a:cubicBezTo>
                  <a:cubicBezTo>
                    <a:pt x="3871489" y="2874936"/>
                    <a:pt x="2650098" y="4096327"/>
                    <a:pt x="1143485" y="4096327"/>
                  </a:cubicBezTo>
                  <a:cubicBezTo>
                    <a:pt x="766832" y="4096327"/>
                    <a:pt x="408006" y="4019990"/>
                    <a:pt x="81633" y="3881944"/>
                  </a:cubicBezTo>
                  <a:lnTo>
                    <a:pt x="0" y="3842618"/>
                  </a:lnTo>
                  <a:lnTo>
                    <a:pt x="0" y="2741475"/>
                  </a:lnTo>
                  <a:lnTo>
                    <a:pt x="6615" y="2747487"/>
                  </a:lnTo>
                  <a:cubicBezTo>
                    <a:pt x="315579" y="3002472"/>
                    <a:pt x="711663" y="3155655"/>
                    <a:pt x="1143485" y="3155655"/>
                  </a:cubicBezTo>
                  <a:cubicBezTo>
                    <a:pt x="2130515" y="3155655"/>
                    <a:pt x="2930817" y="2355353"/>
                    <a:pt x="2930817" y="1368323"/>
                  </a:cubicBezTo>
                  <a:cubicBezTo>
                    <a:pt x="2930817" y="874812"/>
                    <a:pt x="2730741" y="427979"/>
                    <a:pt x="2407287" y="104524"/>
                  </a:cubicBezTo>
                  <a:close/>
                </a:path>
              </a:pathLst>
            </a:cu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80BD"/>
                </a:solidFill>
                <a:effectLst/>
                <a:uLnTx/>
                <a:uFillTx/>
                <a:latin typeface="Source Sans Pro"/>
                <a:ea typeface="+mn-ea"/>
                <a:cs typeface="+mn-cs"/>
              </a:endParaRPr>
            </a:p>
          </p:txBody>
        </p:sp>
        <p:sp>
          <p:nvSpPr>
            <p:cNvPr id="8" name="Freeform: Shape 7">
              <a:extLst>
                <a:ext uri="{FF2B5EF4-FFF2-40B4-BE49-F238E27FC236}">
                  <a16:creationId xmlns:a16="http://schemas.microsoft.com/office/drawing/2014/main" id="{4CE23D58-D8BD-47F1-8A08-1545434EDDA0}"/>
                </a:ext>
                <a:ext uri="{C183D7F6-B498-43B3-948B-1728B52AA6E4}">
                  <adec:decorative xmlns:adec="http://schemas.microsoft.com/office/drawing/2017/decorative" val="1"/>
                </a:ext>
              </a:extLst>
            </p:cNvPr>
            <p:cNvSpPr/>
            <p:nvPr userDrawn="1"/>
          </p:nvSpPr>
          <p:spPr>
            <a:xfrm>
              <a:off x="1" y="2"/>
              <a:ext cx="2232251" cy="2361890"/>
            </a:xfrm>
            <a:custGeom>
              <a:avLst/>
              <a:gdLst>
                <a:gd name="connsiteX0" fmla="*/ 2292284 w 3871489"/>
                <a:gd name="connsiteY0" fmla="*/ 0 h 4096327"/>
                <a:gd name="connsiteX1" fmla="*/ 3500914 w 3871489"/>
                <a:gd name="connsiteY1" fmla="*/ 0 h 4096327"/>
                <a:gd name="connsiteX2" fmla="*/ 3542229 w 3871489"/>
                <a:gd name="connsiteY2" fmla="*/ 68006 h 4096327"/>
                <a:gd name="connsiteX3" fmla="*/ 3871489 w 3871489"/>
                <a:gd name="connsiteY3" fmla="*/ 1368323 h 4096327"/>
                <a:gd name="connsiteX4" fmla="*/ 1143485 w 3871489"/>
                <a:gd name="connsiteY4" fmla="*/ 4096327 h 4096327"/>
                <a:gd name="connsiteX5" fmla="*/ 81633 w 3871489"/>
                <a:gd name="connsiteY5" fmla="*/ 3881944 h 4096327"/>
                <a:gd name="connsiteX6" fmla="*/ 0 w 3871489"/>
                <a:gd name="connsiteY6" fmla="*/ 3842618 h 4096327"/>
                <a:gd name="connsiteX7" fmla="*/ 0 w 3871489"/>
                <a:gd name="connsiteY7" fmla="*/ 2741475 h 4096327"/>
                <a:gd name="connsiteX8" fmla="*/ 6615 w 3871489"/>
                <a:gd name="connsiteY8" fmla="*/ 2747487 h 4096327"/>
                <a:gd name="connsiteX9" fmla="*/ 1143485 w 3871489"/>
                <a:gd name="connsiteY9" fmla="*/ 3155655 h 4096327"/>
                <a:gd name="connsiteX10" fmla="*/ 2930817 w 3871489"/>
                <a:gd name="connsiteY10" fmla="*/ 1368323 h 4096327"/>
                <a:gd name="connsiteX11" fmla="*/ 2407287 w 3871489"/>
                <a:gd name="connsiteY11" fmla="*/ 104524 h 409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71489" h="4096327">
                  <a:moveTo>
                    <a:pt x="2292284" y="0"/>
                  </a:moveTo>
                  <a:lnTo>
                    <a:pt x="3500914" y="0"/>
                  </a:lnTo>
                  <a:lnTo>
                    <a:pt x="3542229" y="68006"/>
                  </a:lnTo>
                  <a:cubicBezTo>
                    <a:pt x="3752213" y="454545"/>
                    <a:pt x="3871489" y="897507"/>
                    <a:pt x="3871489" y="1368323"/>
                  </a:cubicBezTo>
                  <a:cubicBezTo>
                    <a:pt x="3871489" y="2874936"/>
                    <a:pt x="2650098" y="4096327"/>
                    <a:pt x="1143485" y="4096327"/>
                  </a:cubicBezTo>
                  <a:cubicBezTo>
                    <a:pt x="766832" y="4096327"/>
                    <a:pt x="408006" y="4019990"/>
                    <a:pt x="81633" y="3881944"/>
                  </a:cubicBezTo>
                  <a:lnTo>
                    <a:pt x="0" y="3842618"/>
                  </a:lnTo>
                  <a:lnTo>
                    <a:pt x="0" y="2741475"/>
                  </a:lnTo>
                  <a:lnTo>
                    <a:pt x="6615" y="2747487"/>
                  </a:lnTo>
                  <a:cubicBezTo>
                    <a:pt x="315579" y="3002472"/>
                    <a:pt x="711663" y="3155655"/>
                    <a:pt x="1143485" y="3155655"/>
                  </a:cubicBezTo>
                  <a:cubicBezTo>
                    <a:pt x="2130515" y="3155655"/>
                    <a:pt x="2930817" y="2355353"/>
                    <a:pt x="2930817" y="1368323"/>
                  </a:cubicBezTo>
                  <a:cubicBezTo>
                    <a:pt x="2930817" y="874812"/>
                    <a:pt x="2730741" y="427979"/>
                    <a:pt x="2407287" y="104524"/>
                  </a:cubicBezTo>
                  <a:close/>
                </a:path>
              </a:pathLst>
            </a:custGeom>
            <a:solidFill>
              <a:schemeClr val="accent3">
                <a:alpha val="2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80BD"/>
                </a:solidFill>
                <a:effectLst/>
                <a:uLnTx/>
                <a:uFillTx/>
                <a:latin typeface="Source Sans Pro"/>
                <a:ea typeface="+mn-ea"/>
                <a:cs typeface="+mn-cs"/>
              </a:endParaRPr>
            </a:p>
          </p:txBody>
        </p:sp>
        <p:sp>
          <p:nvSpPr>
            <p:cNvPr id="5" name="Freeform: Shape 4">
              <a:extLst>
                <a:ext uri="{FF2B5EF4-FFF2-40B4-BE49-F238E27FC236}">
                  <a16:creationId xmlns:a16="http://schemas.microsoft.com/office/drawing/2014/main" id="{406603D7-A9AD-4936-90DC-D8A2A1F2D261}"/>
                </a:ext>
                <a:ext uri="{C183D7F6-B498-43B3-948B-1728B52AA6E4}">
                  <adec:decorative xmlns:adec="http://schemas.microsoft.com/office/drawing/2017/decorative" val="1"/>
                </a:ext>
              </a:extLst>
            </p:cNvPr>
            <p:cNvSpPr/>
            <p:nvPr userDrawn="1"/>
          </p:nvSpPr>
          <p:spPr>
            <a:xfrm>
              <a:off x="0" y="292656"/>
              <a:ext cx="1861854" cy="277779"/>
            </a:xfrm>
            <a:custGeom>
              <a:avLst/>
              <a:gdLst>
                <a:gd name="connsiteX0" fmla="*/ 180458 w 1861854"/>
                <a:gd name="connsiteY0" fmla="*/ 0 h 277779"/>
                <a:gd name="connsiteX1" fmla="*/ 419222 w 1861854"/>
                <a:gd name="connsiteY1" fmla="*/ 238761 h 277779"/>
                <a:gd name="connsiteX2" fmla="*/ 657984 w 1861854"/>
                <a:gd name="connsiteY2" fmla="*/ 0 h 277779"/>
                <a:gd name="connsiteX3" fmla="*/ 896745 w 1861854"/>
                <a:gd name="connsiteY3" fmla="*/ 238761 h 277779"/>
                <a:gd name="connsiteX4" fmla="*/ 1135754 w 1861854"/>
                <a:gd name="connsiteY4" fmla="*/ 0 h 277779"/>
                <a:gd name="connsiteX5" fmla="*/ 1374516 w 1861854"/>
                <a:gd name="connsiteY5" fmla="*/ 238761 h 277779"/>
                <a:gd name="connsiteX6" fmla="*/ 1613277 w 1861854"/>
                <a:gd name="connsiteY6" fmla="*/ 0 h 277779"/>
                <a:gd name="connsiteX7" fmla="*/ 1861854 w 1861854"/>
                <a:gd name="connsiteY7" fmla="*/ 248577 h 277779"/>
                <a:gd name="connsiteX8" fmla="*/ 1842470 w 1861854"/>
                <a:gd name="connsiteY8" fmla="*/ 267963 h 277779"/>
                <a:gd name="connsiteX9" fmla="*/ 1613277 w 1861854"/>
                <a:gd name="connsiteY9" fmla="*/ 39017 h 277779"/>
                <a:gd name="connsiteX10" fmla="*/ 1374516 w 1861854"/>
                <a:gd name="connsiteY10" fmla="*/ 277779 h 277779"/>
                <a:gd name="connsiteX11" fmla="*/ 1135754 w 1861854"/>
                <a:gd name="connsiteY11" fmla="*/ 39017 h 277779"/>
                <a:gd name="connsiteX12" fmla="*/ 896745 w 1861854"/>
                <a:gd name="connsiteY12" fmla="*/ 277779 h 277779"/>
                <a:gd name="connsiteX13" fmla="*/ 657984 w 1861854"/>
                <a:gd name="connsiteY13" fmla="*/ 39017 h 277779"/>
                <a:gd name="connsiteX14" fmla="*/ 419222 w 1861854"/>
                <a:gd name="connsiteY14" fmla="*/ 277779 h 277779"/>
                <a:gd name="connsiteX15" fmla="*/ 180458 w 1861854"/>
                <a:gd name="connsiteY15" fmla="*/ 39017 h 277779"/>
                <a:gd name="connsiteX16" fmla="*/ 0 w 1861854"/>
                <a:gd name="connsiteY16" fmla="*/ 219283 h 277779"/>
                <a:gd name="connsiteX17" fmla="*/ 0 w 1861854"/>
                <a:gd name="connsiteY17" fmla="*/ 180458 h 27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1854" h="277779">
                  <a:moveTo>
                    <a:pt x="180458" y="0"/>
                  </a:moveTo>
                  <a:lnTo>
                    <a:pt x="419222" y="238761"/>
                  </a:lnTo>
                  <a:lnTo>
                    <a:pt x="657984" y="0"/>
                  </a:lnTo>
                  <a:lnTo>
                    <a:pt x="896745" y="238761"/>
                  </a:lnTo>
                  <a:lnTo>
                    <a:pt x="1135754" y="0"/>
                  </a:lnTo>
                  <a:lnTo>
                    <a:pt x="1374516" y="238761"/>
                  </a:lnTo>
                  <a:lnTo>
                    <a:pt x="1613277" y="0"/>
                  </a:lnTo>
                  <a:lnTo>
                    <a:pt x="1861854" y="248577"/>
                  </a:lnTo>
                  <a:lnTo>
                    <a:pt x="1842470" y="267963"/>
                  </a:lnTo>
                  <a:lnTo>
                    <a:pt x="1613277" y="39017"/>
                  </a:lnTo>
                  <a:lnTo>
                    <a:pt x="1374516" y="277779"/>
                  </a:lnTo>
                  <a:lnTo>
                    <a:pt x="1135754" y="39017"/>
                  </a:lnTo>
                  <a:lnTo>
                    <a:pt x="896745" y="277779"/>
                  </a:lnTo>
                  <a:lnTo>
                    <a:pt x="657984" y="39017"/>
                  </a:lnTo>
                  <a:lnTo>
                    <a:pt x="419222" y="277779"/>
                  </a:lnTo>
                  <a:lnTo>
                    <a:pt x="180458" y="39017"/>
                  </a:lnTo>
                  <a:lnTo>
                    <a:pt x="0" y="219283"/>
                  </a:lnTo>
                  <a:lnTo>
                    <a:pt x="0" y="180458"/>
                  </a:lnTo>
                  <a:close/>
                </a:path>
              </a:pathLst>
            </a:custGeom>
            <a:solidFill>
              <a:schemeClr val="tx1"/>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 name="Freeform: Shape 5">
              <a:extLst>
                <a:ext uri="{FF2B5EF4-FFF2-40B4-BE49-F238E27FC236}">
                  <a16:creationId xmlns:a16="http://schemas.microsoft.com/office/drawing/2014/main" id="{E9DA8193-AE04-4173-B7BB-C770C79E6340}"/>
                </a:ext>
                <a:ext uri="{C183D7F6-B498-43B3-948B-1728B52AA6E4}">
                  <adec:decorative xmlns:adec="http://schemas.microsoft.com/office/drawing/2017/decorative" val="1"/>
                </a:ext>
              </a:extLst>
            </p:cNvPr>
            <p:cNvSpPr/>
            <p:nvPr userDrawn="1"/>
          </p:nvSpPr>
          <p:spPr>
            <a:xfrm>
              <a:off x="0" y="732391"/>
              <a:ext cx="1861854" cy="277779"/>
            </a:xfrm>
            <a:custGeom>
              <a:avLst/>
              <a:gdLst>
                <a:gd name="connsiteX0" fmla="*/ 180458 w 1861854"/>
                <a:gd name="connsiteY0" fmla="*/ 0 h 277779"/>
                <a:gd name="connsiteX1" fmla="*/ 419222 w 1861854"/>
                <a:gd name="connsiteY1" fmla="*/ 238761 h 277779"/>
                <a:gd name="connsiteX2" fmla="*/ 657984 w 1861854"/>
                <a:gd name="connsiteY2" fmla="*/ 0 h 277779"/>
                <a:gd name="connsiteX3" fmla="*/ 896745 w 1861854"/>
                <a:gd name="connsiteY3" fmla="*/ 238761 h 277779"/>
                <a:gd name="connsiteX4" fmla="*/ 1135754 w 1861854"/>
                <a:gd name="connsiteY4" fmla="*/ 0 h 277779"/>
                <a:gd name="connsiteX5" fmla="*/ 1374516 w 1861854"/>
                <a:gd name="connsiteY5" fmla="*/ 238761 h 277779"/>
                <a:gd name="connsiteX6" fmla="*/ 1613277 w 1861854"/>
                <a:gd name="connsiteY6" fmla="*/ 0 h 277779"/>
                <a:gd name="connsiteX7" fmla="*/ 1861854 w 1861854"/>
                <a:gd name="connsiteY7" fmla="*/ 248577 h 277779"/>
                <a:gd name="connsiteX8" fmla="*/ 1842470 w 1861854"/>
                <a:gd name="connsiteY8" fmla="*/ 268208 h 277779"/>
                <a:gd name="connsiteX9" fmla="*/ 1613277 w 1861854"/>
                <a:gd name="connsiteY9" fmla="*/ 39017 h 277779"/>
                <a:gd name="connsiteX10" fmla="*/ 1374516 w 1861854"/>
                <a:gd name="connsiteY10" fmla="*/ 277779 h 277779"/>
                <a:gd name="connsiteX11" fmla="*/ 1135754 w 1861854"/>
                <a:gd name="connsiteY11" fmla="*/ 39017 h 277779"/>
                <a:gd name="connsiteX12" fmla="*/ 896745 w 1861854"/>
                <a:gd name="connsiteY12" fmla="*/ 277779 h 277779"/>
                <a:gd name="connsiteX13" fmla="*/ 657984 w 1861854"/>
                <a:gd name="connsiteY13" fmla="*/ 39017 h 277779"/>
                <a:gd name="connsiteX14" fmla="*/ 419222 w 1861854"/>
                <a:gd name="connsiteY14" fmla="*/ 277779 h 277779"/>
                <a:gd name="connsiteX15" fmla="*/ 180458 w 1861854"/>
                <a:gd name="connsiteY15" fmla="*/ 39017 h 277779"/>
                <a:gd name="connsiteX16" fmla="*/ 0 w 1861854"/>
                <a:gd name="connsiteY16" fmla="*/ 219475 h 277779"/>
                <a:gd name="connsiteX17" fmla="*/ 0 w 1861854"/>
                <a:gd name="connsiteY17" fmla="*/ 180458 h 27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1854" h="277779">
                  <a:moveTo>
                    <a:pt x="180458" y="0"/>
                  </a:moveTo>
                  <a:lnTo>
                    <a:pt x="419222" y="238761"/>
                  </a:lnTo>
                  <a:lnTo>
                    <a:pt x="657984" y="0"/>
                  </a:lnTo>
                  <a:lnTo>
                    <a:pt x="896745" y="238761"/>
                  </a:lnTo>
                  <a:lnTo>
                    <a:pt x="1135754" y="0"/>
                  </a:lnTo>
                  <a:lnTo>
                    <a:pt x="1374516" y="238761"/>
                  </a:lnTo>
                  <a:lnTo>
                    <a:pt x="1613277" y="0"/>
                  </a:lnTo>
                  <a:lnTo>
                    <a:pt x="1861854" y="248577"/>
                  </a:lnTo>
                  <a:lnTo>
                    <a:pt x="1842470" y="268208"/>
                  </a:lnTo>
                  <a:lnTo>
                    <a:pt x="1613277" y="39017"/>
                  </a:lnTo>
                  <a:lnTo>
                    <a:pt x="1374516" y="277779"/>
                  </a:lnTo>
                  <a:lnTo>
                    <a:pt x="1135754" y="39017"/>
                  </a:lnTo>
                  <a:lnTo>
                    <a:pt x="896745" y="277779"/>
                  </a:lnTo>
                  <a:lnTo>
                    <a:pt x="657984" y="39017"/>
                  </a:lnTo>
                  <a:lnTo>
                    <a:pt x="419222" y="277779"/>
                  </a:lnTo>
                  <a:lnTo>
                    <a:pt x="180458" y="39017"/>
                  </a:lnTo>
                  <a:lnTo>
                    <a:pt x="0" y="219475"/>
                  </a:lnTo>
                  <a:lnTo>
                    <a:pt x="0" y="180458"/>
                  </a:lnTo>
                  <a:close/>
                </a:path>
              </a:pathLst>
            </a:custGeom>
            <a:solidFill>
              <a:schemeClr val="tx1"/>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grpSp>
      <p:sp>
        <p:nvSpPr>
          <p:cNvPr id="4" name="Title 1">
            <a:extLst>
              <a:ext uri="{FF2B5EF4-FFF2-40B4-BE49-F238E27FC236}">
                <a16:creationId xmlns:a16="http://schemas.microsoft.com/office/drawing/2014/main" id="{EA2796DC-5724-4DF5-8195-1FABE6D85544}"/>
              </a:ext>
            </a:extLst>
          </p:cNvPr>
          <p:cNvSpPr>
            <a:spLocks noGrp="1"/>
          </p:cNvSpPr>
          <p:nvPr>
            <p:ph type="title"/>
          </p:nvPr>
        </p:nvSpPr>
        <p:spPr>
          <a:xfrm>
            <a:off x="2232251" y="633046"/>
            <a:ext cx="3863749" cy="1314996"/>
          </a:xfrm>
        </p:spPr>
        <p:txBody>
          <a:bodyPr anchor="b"/>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0B187FF7-DB6C-4C1A-9548-14E8A3C25529}"/>
              </a:ext>
            </a:extLst>
          </p:cNvPr>
          <p:cNvSpPr>
            <a:spLocks noGrp="1"/>
          </p:cNvSpPr>
          <p:nvPr>
            <p:ph idx="1" hasCustomPrompt="1"/>
          </p:nvPr>
        </p:nvSpPr>
        <p:spPr>
          <a:xfrm>
            <a:off x="2232251" y="2125737"/>
            <a:ext cx="3863749" cy="4044463"/>
          </a:xfrm>
        </p:spPr>
        <p:txBody>
          <a:bodyPr>
            <a:normAutofit/>
          </a:bodyPr>
          <a:lstStyle>
            <a:lvl1pPr marL="0" indent="0">
              <a:lnSpc>
                <a:spcPct val="120000"/>
              </a:lnSpc>
              <a:buNone/>
              <a:defRPr sz="1800"/>
            </a:lvl1pPr>
          </a:lstStyle>
          <a:p>
            <a:pPr>
              <a:lnSpc>
                <a:spcPct val="130000"/>
              </a:lnSpc>
            </a:pPr>
            <a:r>
              <a:rPr lang="en-US" dirty="0"/>
              <a:t>Content</a:t>
            </a:r>
          </a:p>
        </p:txBody>
      </p:sp>
      <p:sp>
        <p:nvSpPr>
          <p:cNvPr id="11" name="Date Placeholder 178">
            <a:extLst>
              <a:ext uri="{FF2B5EF4-FFF2-40B4-BE49-F238E27FC236}">
                <a16:creationId xmlns:a16="http://schemas.microsoft.com/office/drawing/2014/main" id="{B7A60214-A813-4C22-B24B-04F723FF4DEA}"/>
              </a:ext>
            </a:extLst>
          </p:cNvPr>
          <p:cNvSpPr>
            <a:spLocks noGrp="1"/>
          </p:cNvSpPr>
          <p:nvPr>
            <p:ph type="dt" sz="half" idx="10"/>
          </p:nvPr>
        </p:nvSpPr>
        <p:spPr>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a:ln>
                  <a:noFill/>
                </a:ln>
                <a:solidFill>
                  <a:prstClr val="black">
                    <a:tint val="75000"/>
                  </a:prstClr>
                </a:solidFill>
                <a:effectLst/>
                <a:uLnTx/>
                <a:uFillTx/>
                <a:latin typeface="Source Sans Pro"/>
                <a:cs typeface="+mn-cs"/>
              </a:rPr>
              <a:t>2/1/20XX</a:t>
            </a:r>
            <a:endParaRPr kumimoji="0" lang="en-US" sz="1200" b="1" i="0" u="none" strike="noStrike" kern="1200" cap="all" spc="100" normalizeH="0" baseline="0" noProof="0" dirty="0">
              <a:ln>
                <a:noFill/>
              </a:ln>
              <a:solidFill>
                <a:prstClr val="black">
                  <a:tint val="75000"/>
                </a:prstClr>
              </a:solidFill>
              <a:effectLst/>
              <a:uLnTx/>
              <a:uFillTx/>
              <a:latin typeface="Source Sans Pro"/>
              <a:cs typeface="+mn-cs"/>
            </a:endParaRPr>
          </a:p>
        </p:txBody>
      </p:sp>
      <p:sp>
        <p:nvSpPr>
          <p:cNvPr id="28" name="Picture Placeholder 27">
            <a:extLst>
              <a:ext uri="{FF2B5EF4-FFF2-40B4-BE49-F238E27FC236}">
                <a16:creationId xmlns:a16="http://schemas.microsoft.com/office/drawing/2014/main" id="{659DC90E-7284-4051-85CA-D8C21417DF7F}"/>
              </a:ext>
            </a:extLst>
          </p:cNvPr>
          <p:cNvSpPr>
            <a:spLocks noGrp="1"/>
          </p:cNvSpPr>
          <p:nvPr>
            <p:ph type="pic" sz="quarter" idx="14"/>
          </p:nvPr>
        </p:nvSpPr>
        <p:spPr>
          <a:xfrm>
            <a:off x="6423487" y="929609"/>
            <a:ext cx="2518114" cy="2518114"/>
          </a:xfrm>
          <a:custGeom>
            <a:avLst/>
            <a:gdLst>
              <a:gd name="connsiteX0" fmla="*/ 1259057 w 2518114"/>
              <a:gd name="connsiteY0" fmla="*/ 0 h 2518114"/>
              <a:gd name="connsiteX1" fmla="*/ 2518114 w 2518114"/>
              <a:gd name="connsiteY1" fmla="*/ 1259057 h 2518114"/>
              <a:gd name="connsiteX2" fmla="*/ 1259057 w 2518114"/>
              <a:gd name="connsiteY2" fmla="*/ 2518114 h 2518114"/>
              <a:gd name="connsiteX3" fmla="*/ 0 w 2518114"/>
              <a:gd name="connsiteY3" fmla="*/ 1259057 h 2518114"/>
              <a:gd name="connsiteX4" fmla="*/ 1259057 w 2518114"/>
              <a:gd name="connsiteY4" fmla="*/ 0 h 2518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114" h="2518114">
                <a:moveTo>
                  <a:pt x="1259057" y="0"/>
                </a:moveTo>
                <a:cubicBezTo>
                  <a:pt x="1954415" y="0"/>
                  <a:pt x="2518114" y="563699"/>
                  <a:pt x="2518114" y="1259057"/>
                </a:cubicBezTo>
                <a:cubicBezTo>
                  <a:pt x="2518114" y="1954415"/>
                  <a:pt x="1954415" y="2518114"/>
                  <a:pt x="1259057" y="2518114"/>
                </a:cubicBezTo>
                <a:cubicBezTo>
                  <a:pt x="563699" y="2518114"/>
                  <a:pt x="0" y="1954415"/>
                  <a:pt x="0" y="1259057"/>
                </a:cubicBezTo>
                <a:cubicBezTo>
                  <a:pt x="0" y="563699"/>
                  <a:pt x="563699" y="0"/>
                  <a:pt x="1259057" y="0"/>
                </a:cubicBezTo>
                <a:close/>
              </a:path>
            </a:pathLst>
          </a:custGeom>
        </p:spPr>
        <p:txBody>
          <a:bodyPr wrap="square">
            <a:noAutofit/>
          </a:bodyPr>
          <a:lstStyle/>
          <a:p>
            <a:r>
              <a:rPr lang="en-US"/>
              <a:t>Click icon to add picture</a:t>
            </a:r>
            <a:endParaRPr lang="en-US" dirty="0"/>
          </a:p>
        </p:txBody>
      </p:sp>
      <p:sp>
        <p:nvSpPr>
          <p:cNvPr id="25" name="Picture Placeholder 24">
            <a:extLst>
              <a:ext uri="{FF2B5EF4-FFF2-40B4-BE49-F238E27FC236}">
                <a16:creationId xmlns:a16="http://schemas.microsoft.com/office/drawing/2014/main" id="{D399D5A9-622F-4A19-AC14-CE115C15E60E}"/>
              </a:ext>
            </a:extLst>
          </p:cNvPr>
          <p:cNvSpPr>
            <a:spLocks noGrp="1"/>
          </p:cNvSpPr>
          <p:nvPr>
            <p:ph type="pic" sz="quarter" idx="13"/>
          </p:nvPr>
        </p:nvSpPr>
        <p:spPr>
          <a:xfrm>
            <a:off x="9090426" y="86636"/>
            <a:ext cx="2952748" cy="2952748"/>
          </a:xfrm>
          <a:custGeom>
            <a:avLst/>
            <a:gdLst>
              <a:gd name="connsiteX0" fmla="*/ 1476374 w 2952748"/>
              <a:gd name="connsiteY0" fmla="*/ 0 h 2952748"/>
              <a:gd name="connsiteX1" fmla="*/ 2952748 w 2952748"/>
              <a:gd name="connsiteY1" fmla="*/ 1476374 h 2952748"/>
              <a:gd name="connsiteX2" fmla="*/ 1476374 w 2952748"/>
              <a:gd name="connsiteY2" fmla="*/ 2952748 h 2952748"/>
              <a:gd name="connsiteX3" fmla="*/ 0 w 2952748"/>
              <a:gd name="connsiteY3" fmla="*/ 1476374 h 2952748"/>
              <a:gd name="connsiteX4" fmla="*/ 1476374 w 2952748"/>
              <a:gd name="connsiteY4" fmla="*/ 0 h 2952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48" h="2952748">
                <a:moveTo>
                  <a:pt x="1476374" y="0"/>
                </a:moveTo>
                <a:cubicBezTo>
                  <a:pt x="2291753" y="0"/>
                  <a:pt x="2952748" y="660995"/>
                  <a:pt x="2952748" y="1476374"/>
                </a:cubicBezTo>
                <a:cubicBezTo>
                  <a:pt x="2952748" y="2291753"/>
                  <a:pt x="2291753" y="2952748"/>
                  <a:pt x="1476374" y="2952748"/>
                </a:cubicBezTo>
                <a:cubicBezTo>
                  <a:pt x="660995" y="2952748"/>
                  <a:pt x="0" y="2291753"/>
                  <a:pt x="0" y="1476374"/>
                </a:cubicBezTo>
                <a:cubicBezTo>
                  <a:pt x="0" y="660995"/>
                  <a:pt x="660995" y="0"/>
                  <a:pt x="1476374" y="0"/>
                </a:cubicBezTo>
                <a:close/>
              </a:path>
            </a:pathLst>
          </a:custGeom>
        </p:spPr>
        <p:txBody>
          <a:bodyPr wrap="square">
            <a:noAutofit/>
          </a:bodyPr>
          <a:lstStyle/>
          <a:p>
            <a:r>
              <a:rPr lang="en-US"/>
              <a:t>Click icon to add picture</a:t>
            </a:r>
            <a:endParaRPr lang="en-US" dirty="0"/>
          </a:p>
        </p:txBody>
      </p:sp>
      <p:grpSp>
        <p:nvGrpSpPr>
          <p:cNvPr id="9" name="Group 8">
            <a:extLst>
              <a:ext uri="{FF2B5EF4-FFF2-40B4-BE49-F238E27FC236}">
                <a16:creationId xmlns:a16="http://schemas.microsoft.com/office/drawing/2014/main" id="{8DB95C10-057C-4318-8E35-14CA6421DBCA}"/>
              </a:ext>
              <a:ext uri="{C183D7F6-B498-43B3-948B-1728B52AA6E4}">
                <adec:decorative xmlns:adec="http://schemas.microsoft.com/office/drawing/2017/decorative" val="1"/>
              </a:ext>
            </a:extLst>
          </p:cNvPr>
          <p:cNvGrpSpPr/>
          <p:nvPr userDrawn="1"/>
        </p:nvGrpSpPr>
        <p:grpSpPr>
          <a:xfrm>
            <a:off x="10051176" y="4803984"/>
            <a:ext cx="2140824" cy="2054016"/>
            <a:chOff x="10051176" y="4803984"/>
            <a:chExt cx="2140824" cy="2054016"/>
          </a:xfrm>
        </p:grpSpPr>
        <p:sp>
          <p:nvSpPr>
            <p:cNvPr id="12" name="Freeform: Shape 11">
              <a:extLst>
                <a:ext uri="{FF2B5EF4-FFF2-40B4-BE49-F238E27FC236}">
                  <a16:creationId xmlns:a16="http://schemas.microsoft.com/office/drawing/2014/main" id="{CBE7134B-D795-425D-A988-E8D6CD66E8EF}"/>
                </a:ext>
                <a:ext uri="{C183D7F6-B498-43B3-948B-1728B52AA6E4}">
                  <adec:decorative xmlns:adec="http://schemas.microsoft.com/office/drawing/2017/decorative" val="1"/>
                </a:ext>
              </a:extLst>
            </p:cNvPr>
            <p:cNvSpPr/>
            <p:nvPr userDrawn="1"/>
          </p:nvSpPr>
          <p:spPr>
            <a:xfrm>
              <a:off x="10051176" y="4803984"/>
              <a:ext cx="2140824" cy="2054016"/>
            </a:xfrm>
            <a:custGeom>
              <a:avLst/>
              <a:gdLst>
                <a:gd name="connsiteX0" fmla="*/ 2473947 w 3432581"/>
                <a:gd name="connsiteY0" fmla="*/ 0 h 3293393"/>
                <a:gd name="connsiteX1" fmla="*/ 3209623 w 3432581"/>
                <a:gd name="connsiteY1" fmla="*/ 111224 h 3293393"/>
                <a:gd name="connsiteX2" fmla="*/ 3432581 w 3432581"/>
                <a:gd name="connsiteY2" fmla="*/ 192828 h 3293393"/>
                <a:gd name="connsiteX3" fmla="*/ 3432581 w 3432581"/>
                <a:gd name="connsiteY3" fmla="*/ 3293393 h 3293393"/>
                <a:gd name="connsiteX4" fmla="*/ 141884 w 3432581"/>
                <a:gd name="connsiteY4" fmla="*/ 3293393 h 3293393"/>
                <a:gd name="connsiteX5" fmla="*/ 111224 w 3432581"/>
                <a:gd name="connsiteY5" fmla="*/ 3209623 h 3293393"/>
                <a:gd name="connsiteX6" fmla="*/ 0 w 3432581"/>
                <a:gd name="connsiteY6" fmla="*/ 2473947 h 3293393"/>
                <a:gd name="connsiteX7" fmla="*/ 2473947 w 3432581"/>
                <a:gd name="connsiteY7" fmla="*/ 0 h 329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2581" h="3293393">
                  <a:moveTo>
                    <a:pt x="2473947" y="0"/>
                  </a:moveTo>
                  <a:cubicBezTo>
                    <a:pt x="2730133" y="0"/>
                    <a:pt x="2977223" y="38940"/>
                    <a:pt x="3209623" y="111224"/>
                  </a:cubicBezTo>
                  <a:lnTo>
                    <a:pt x="3432581" y="192828"/>
                  </a:lnTo>
                  <a:lnTo>
                    <a:pt x="3432581" y="3293393"/>
                  </a:lnTo>
                  <a:lnTo>
                    <a:pt x="141884" y="3293393"/>
                  </a:lnTo>
                  <a:lnTo>
                    <a:pt x="111224" y="3209623"/>
                  </a:lnTo>
                  <a:cubicBezTo>
                    <a:pt x="38940" y="2977224"/>
                    <a:pt x="0" y="2730133"/>
                    <a:pt x="0" y="2473947"/>
                  </a:cubicBezTo>
                  <a:cubicBezTo>
                    <a:pt x="0" y="1107624"/>
                    <a:pt x="1107624" y="0"/>
                    <a:pt x="2473947" y="0"/>
                  </a:cubicBezTo>
                  <a:close/>
                </a:path>
              </a:pathLst>
            </a:cu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3" name="Freeform: Shape 12">
              <a:extLst>
                <a:ext uri="{FF2B5EF4-FFF2-40B4-BE49-F238E27FC236}">
                  <a16:creationId xmlns:a16="http://schemas.microsoft.com/office/drawing/2014/main" id="{243741EC-3B24-4CBF-99F9-F7F4944C0438}"/>
                </a:ext>
                <a:ext uri="{C183D7F6-B498-43B3-948B-1728B52AA6E4}">
                  <adec:decorative xmlns:adec="http://schemas.microsoft.com/office/drawing/2017/decorative" val="1"/>
                </a:ext>
              </a:extLst>
            </p:cNvPr>
            <p:cNvSpPr/>
            <p:nvPr userDrawn="1"/>
          </p:nvSpPr>
          <p:spPr>
            <a:xfrm>
              <a:off x="10051176" y="4803984"/>
              <a:ext cx="2140824" cy="2054016"/>
            </a:xfrm>
            <a:custGeom>
              <a:avLst/>
              <a:gdLst>
                <a:gd name="connsiteX0" fmla="*/ 2473947 w 3432581"/>
                <a:gd name="connsiteY0" fmla="*/ 0 h 3293393"/>
                <a:gd name="connsiteX1" fmla="*/ 3209623 w 3432581"/>
                <a:gd name="connsiteY1" fmla="*/ 111224 h 3293393"/>
                <a:gd name="connsiteX2" fmla="*/ 3432581 w 3432581"/>
                <a:gd name="connsiteY2" fmla="*/ 192828 h 3293393"/>
                <a:gd name="connsiteX3" fmla="*/ 3432581 w 3432581"/>
                <a:gd name="connsiteY3" fmla="*/ 3293393 h 3293393"/>
                <a:gd name="connsiteX4" fmla="*/ 141884 w 3432581"/>
                <a:gd name="connsiteY4" fmla="*/ 3293393 h 3293393"/>
                <a:gd name="connsiteX5" fmla="*/ 111224 w 3432581"/>
                <a:gd name="connsiteY5" fmla="*/ 3209623 h 3293393"/>
                <a:gd name="connsiteX6" fmla="*/ 0 w 3432581"/>
                <a:gd name="connsiteY6" fmla="*/ 2473947 h 3293393"/>
                <a:gd name="connsiteX7" fmla="*/ 2473947 w 3432581"/>
                <a:gd name="connsiteY7" fmla="*/ 0 h 329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2581" h="3293393">
                  <a:moveTo>
                    <a:pt x="2473947" y="0"/>
                  </a:moveTo>
                  <a:cubicBezTo>
                    <a:pt x="2730133" y="0"/>
                    <a:pt x="2977223" y="38940"/>
                    <a:pt x="3209623" y="111224"/>
                  </a:cubicBezTo>
                  <a:lnTo>
                    <a:pt x="3432581" y="192828"/>
                  </a:lnTo>
                  <a:lnTo>
                    <a:pt x="3432581" y="3293393"/>
                  </a:lnTo>
                  <a:lnTo>
                    <a:pt x="141884" y="3293393"/>
                  </a:lnTo>
                  <a:lnTo>
                    <a:pt x="111224" y="3209623"/>
                  </a:lnTo>
                  <a:cubicBezTo>
                    <a:pt x="38940" y="2977224"/>
                    <a:pt x="0" y="2730133"/>
                    <a:pt x="0" y="2473947"/>
                  </a:cubicBezTo>
                  <a:cubicBezTo>
                    <a:pt x="0" y="1107624"/>
                    <a:pt x="1107624" y="0"/>
                    <a:pt x="2473947" y="0"/>
                  </a:cubicBezTo>
                  <a:close/>
                </a:path>
              </a:pathLst>
            </a:custGeom>
            <a:solidFill>
              <a:schemeClr val="accent1">
                <a:alpha val="2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grpSp>
      <p:sp>
        <p:nvSpPr>
          <p:cNvPr id="32" name="Picture Placeholder 31">
            <a:extLst>
              <a:ext uri="{FF2B5EF4-FFF2-40B4-BE49-F238E27FC236}">
                <a16:creationId xmlns:a16="http://schemas.microsoft.com/office/drawing/2014/main" id="{A981E0B7-6C4A-4ABD-9E79-2CC68B36BABC}"/>
              </a:ext>
            </a:extLst>
          </p:cNvPr>
          <p:cNvSpPr>
            <a:spLocks noGrp="1"/>
          </p:cNvSpPr>
          <p:nvPr>
            <p:ph type="pic" sz="quarter" idx="15"/>
          </p:nvPr>
        </p:nvSpPr>
        <p:spPr>
          <a:xfrm>
            <a:off x="7682545" y="3175909"/>
            <a:ext cx="3454390" cy="3454390"/>
          </a:xfrm>
          <a:custGeom>
            <a:avLst/>
            <a:gdLst>
              <a:gd name="connsiteX0" fmla="*/ 1727195 w 3454390"/>
              <a:gd name="connsiteY0" fmla="*/ 0 h 3454390"/>
              <a:gd name="connsiteX1" fmla="*/ 3454390 w 3454390"/>
              <a:gd name="connsiteY1" fmla="*/ 1727195 h 3454390"/>
              <a:gd name="connsiteX2" fmla="*/ 1727195 w 3454390"/>
              <a:gd name="connsiteY2" fmla="*/ 3454390 h 3454390"/>
              <a:gd name="connsiteX3" fmla="*/ 0 w 3454390"/>
              <a:gd name="connsiteY3" fmla="*/ 1727195 h 3454390"/>
              <a:gd name="connsiteX4" fmla="*/ 1727195 w 3454390"/>
              <a:gd name="connsiteY4" fmla="*/ 0 h 345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4390" h="3454390">
                <a:moveTo>
                  <a:pt x="1727195" y="0"/>
                </a:moveTo>
                <a:cubicBezTo>
                  <a:pt x="2681098" y="0"/>
                  <a:pt x="3454390" y="773292"/>
                  <a:pt x="3454390" y="1727195"/>
                </a:cubicBezTo>
                <a:cubicBezTo>
                  <a:pt x="3454390" y="2681098"/>
                  <a:pt x="2681098" y="3454390"/>
                  <a:pt x="1727195" y="3454390"/>
                </a:cubicBezTo>
                <a:cubicBezTo>
                  <a:pt x="773292" y="3454390"/>
                  <a:pt x="0" y="2681098"/>
                  <a:pt x="0" y="1727195"/>
                </a:cubicBezTo>
                <a:cubicBezTo>
                  <a:pt x="0" y="773292"/>
                  <a:pt x="773292" y="0"/>
                  <a:pt x="1727195" y="0"/>
                </a:cubicBezTo>
                <a:close/>
              </a:path>
            </a:pathLst>
          </a:custGeom>
        </p:spPr>
        <p:txBody>
          <a:bodyPr wrap="square">
            <a:noAutofit/>
          </a:bodyPr>
          <a:lstStyle/>
          <a:p>
            <a:r>
              <a:rPr lang="en-US"/>
              <a:t>Click icon to add picture</a:t>
            </a:r>
            <a:endParaRPr lang="en-US" dirty="0"/>
          </a:p>
        </p:txBody>
      </p:sp>
      <p:sp>
        <p:nvSpPr>
          <p:cNvPr id="21" name="Footer Placeholder 179">
            <a:extLst>
              <a:ext uri="{FF2B5EF4-FFF2-40B4-BE49-F238E27FC236}">
                <a16:creationId xmlns:a16="http://schemas.microsoft.com/office/drawing/2014/main" id="{4E9FB417-D03A-4615-A2E4-F1D3EF9782A4}"/>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dirty="0">
                <a:ln>
                  <a:noFill/>
                </a:ln>
                <a:solidFill>
                  <a:prstClr val="black">
                    <a:tint val="75000"/>
                  </a:prstClr>
                </a:solidFill>
                <a:effectLst/>
                <a:uLnTx/>
                <a:uFillTx/>
                <a:latin typeface="Source Sans Pro"/>
                <a:cs typeface="+mn-cs"/>
              </a:rPr>
              <a:t>PRESENTATION TITLE</a:t>
            </a:r>
          </a:p>
        </p:txBody>
      </p:sp>
      <p:sp>
        <p:nvSpPr>
          <p:cNvPr id="22" name="Slide Number Placeholder 180">
            <a:extLst>
              <a:ext uri="{FF2B5EF4-FFF2-40B4-BE49-F238E27FC236}">
                <a16:creationId xmlns:a16="http://schemas.microsoft.com/office/drawing/2014/main" id="{389AD2FD-902A-43AD-8B8C-AABCC05CEF1A}"/>
              </a:ext>
            </a:extLst>
          </p:cNvPr>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792F7-1D9E-4C7E-A103-E8EDFDC2691E}" type="slidenum">
              <a:rPr kumimoji="0" lang="en-US" sz="1200" b="1" i="0" u="none" strike="noStrike" kern="1200" cap="all" spc="100" normalizeH="0" baseline="0" noProof="0" smtClean="0">
                <a:ln>
                  <a:noFill/>
                </a:ln>
                <a:solidFill>
                  <a:prstClr val="black">
                    <a:tint val="75000"/>
                  </a:prstClr>
                </a:solidFill>
                <a:effectLst/>
                <a:uLnTx/>
                <a:uFillTx/>
                <a:latin typeface="Source Sans Pro"/>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all" spc="100" normalizeH="0" baseline="0" noProof="0" dirty="0">
              <a:ln>
                <a:noFill/>
              </a:ln>
              <a:solidFill>
                <a:prstClr val="black">
                  <a:tint val="75000"/>
                </a:prstClr>
              </a:solidFill>
              <a:effectLst/>
              <a:uLnTx/>
              <a:uFillTx/>
              <a:latin typeface="Source Sans Pro"/>
              <a:cs typeface="+mn-cs"/>
            </a:endParaRPr>
          </a:p>
        </p:txBody>
      </p:sp>
    </p:spTree>
    <p:extLst>
      <p:ext uri="{BB962C8B-B14F-4D97-AF65-F5344CB8AC3E}">
        <p14:creationId xmlns:p14="http://schemas.microsoft.com/office/powerpoint/2010/main" val="14920359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8968B4A-D2FD-4982-8334-0183B81B5317}"/>
              </a:ext>
              <a:ext uri="{C183D7F6-B498-43B3-948B-1728B52AA6E4}">
                <adec:decorative xmlns:adec="http://schemas.microsoft.com/office/drawing/2017/decorative" val="1"/>
              </a:ext>
            </a:extLst>
          </p:cNvPr>
          <p:cNvGrpSpPr/>
          <p:nvPr userDrawn="1"/>
        </p:nvGrpSpPr>
        <p:grpSpPr>
          <a:xfrm>
            <a:off x="6835096" y="657544"/>
            <a:ext cx="4843727" cy="5534144"/>
            <a:chOff x="1674895" y="1345036"/>
            <a:chExt cx="5428610" cy="4210939"/>
          </a:xfrm>
        </p:grpSpPr>
        <p:sp>
          <p:nvSpPr>
            <p:cNvPr id="5" name="Rectangle 4">
              <a:extLst>
                <a:ext uri="{FF2B5EF4-FFF2-40B4-BE49-F238E27FC236}">
                  <a16:creationId xmlns:a16="http://schemas.microsoft.com/office/drawing/2014/main" id="{643A288F-C28C-4225-9247-AF58A824B944}"/>
                </a:ext>
              </a:extLst>
            </p:cNvPr>
            <p:cNvSpPr/>
            <p:nvPr/>
          </p:nvSpPr>
          <p:spPr>
            <a:xfrm>
              <a:off x="1674895" y="1345036"/>
              <a:ext cx="5428610" cy="4210939"/>
            </a:xfrm>
            <a:prstGeom prst="rect">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6" name="Rectangle 5">
              <a:extLst>
                <a:ext uri="{FF2B5EF4-FFF2-40B4-BE49-F238E27FC236}">
                  <a16:creationId xmlns:a16="http://schemas.microsoft.com/office/drawing/2014/main" id="{B362DD31-8718-4A1F-966C-96DD1FE1C299}"/>
                </a:ext>
              </a:extLst>
            </p:cNvPr>
            <p:cNvSpPr/>
            <p:nvPr/>
          </p:nvSpPr>
          <p:spPr>
            <a:xfrm>
              <a:off x="1674895" y="1345036"/>
              <a:ext cx="5428610" cy="4210939"/>
            </a:xfrm>
            <a:prstGeom prst="rect">
              <a:avLst/>
            </a:prstGeom>
            <a:solidFill>
              <a:schemeClr val="accent3">
                <a:alpha val="2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grpSp>
      <p:sp useBgFill="1">
        <p:nvSpPr>
          <p:cNvPr id="7" name="Rectangle 6">
            <a:extLst>
              <a:ext uri="{FF2B5EF4-FFF2-40B4-BE49-F238E27FC236}">
                <a16:creationId xmlns:a16="http://schemas.microsoft.com/office/drawing/2014/main" id="{014FAF08-7ED8-4FA5-BD29-1D7472D4A37A}"/>
              </a:ext>
              <a:ext uri="{C183D7F6-B498-43B3-948B-1728B52AA6E4}">
                <adec:decorative xmlns:adec="http://schemas.microsoft.com/office/drawing/2017/decorative" val="1"/>
              </a:ext>
            </a:extLst>
          </p:cNvPr>
          <p:cNvSpPr/>
          <p:nvPr userDrawn="1"/>
        </p:nvSpPr>
        <p:spPr>
          <a:xfrm>
            <a:off x="6688435" y="401247"/>
            <a:ext cx="4860256" cy="5669873"/>
          </a:xfrm>
          <a:prstGeom prst="rect">
            <a:avLst/>
          </a:prstGeom>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8" name="Title 1">
            <a:extLst>
              <a:ext uri="{FF2B5EF4-FFF2-40B4-BE49-F238E27FC236}">
                <a16:creationId xmlns:a16="http://schemas.microsoft.com/office/drawing/2014/main" id="{568ABF40-D991-4FCE-943D-B4F291810CBD}"/>
              </a:ext>
            </a:extLst>
          </p:cNvPr>
          <p:cNvSpPr>
            <a:spLocks noGrp="1"/>
          </p:cNvSpPr>
          <p:nvPr>
            <p:ph type="ctrTitle" hasCustomPrompt="1"/>
          </p:nvPr>
        </p:nvSpPr>
        <p:spPr>
          <a:xfrm>
            <a:off x="7012297" y="786881"/>
            <a:ext cx="4203323" cy="2927350"/>
          </a:xfrm>
        </p:spPr>
        <p:txBody>
          <a:bodyPr>
            <a:normAutofit/>
          </a:bodyPr>
          <a:lstStyle>
            <a:lvl1pPr algn="ctr">
              <a:defRPr sz="6000" b="1" spc="1500" baseline="0"/>
            </a:lvl1pPr>
          </a:lstStyle>
          <a:p>
            <a:r>
              <a:rPr lang="en-US" dirty="0"/>
              <a:t>CLICK TO ADD TITLE</a:t>
            </a:r>
          </a:p>
        </p:txBody>
      </p:sp>
      <p:sp>
        <p:nvSpPr>
          <p:cNvPr id="9" name="Subtitle 2">
            <a:extLst>
              <a:ext uri="{FF2B5EF4-FFF2-40B4-BE49-F238E27FC236}">
                <a16:creationId xmlns:a16="http://schemas.microsoft.com/office/drawing/2014/main" id="{70199C9F-8FAF-4960-9022-506D5D8424DB}"/>
              </a:ext>
            </a:extLst>
          </p:cNvPr>
          <p:cNvSpPr>
            <a:spLocks noGrp="1"/>
          </p:cNvSpPr>
          <p:nvPr>
            <p:ph type="subTitle" idx="1" hasCustomPrompt="1"/>
          </p:nvPr>
        </p:nvSpPr>
        <p:spPr>
          <a:xfrm>
            <a:off x="7012297" y="3970527"/>
            <a:ext cx="4203323" cy="1647919"/>
          </a:xfrm>
        </p:spPr>
        <p:txBody>
          <a:bodyPr>
            <a:normAutofit/>
          </a:bodyPr>
          <a:lstStyle>
            <a:lvl1pPr marL="0" algn="ctr">
              <a:buNone/>
              <a:defRPr sz="2400" b="0" spc="400" baseline="0"/>
            </a:lvl1pPr>
          </a:lstStyle>
          <a:p>
            <a:r>
              <a:rPr lang="en-US" dirty="0"/>
              <a:t>CLICK TO ADD SUBTITLE</a:t>
            </a:r>
          </a:p>
        </p:txBody>
      </p:sp>
      <p:sp>
        <p:nvSpPr>
          <p:cNvPr id="27" name="Picture Placeholder 25">
            <a:extLst>
              <a:ext uri="{FF2B5EF4-FFF2-40B4-BE49-F238E27FC236}">
                <a16:creationId xmlns:a16="http://schemas.microsoft.com/office/drawing/2014/main" id="{0AAD2801-C4B6-4F9D-8713-2109D15B120E}"/>
              </a:ext>
            </a:extLst>
          </p:cNvPr>
          <p:cNvSpPr>
            <a:spLocks noGrp="1"/>
          </p:cNvSpPr>
          <p:nvPr>
            <p:ph type="pic" sz="quarter" idx="13" hasCustomPrompt="1"/>
          </p:nvPr>
        </p:nvSpPr>
        <p:spPr>
          <a:xfrm>
            <a:off x="1292225" y="1149350"/>
            <a:ext cx="4792663" cy="4227513"/>
          </a:xfrm>
        </p:spPr>
        <p:txBody>
          <a:bodyPr/>
          <a:lstStyle>
            <a:lvl1pPr>
              <a:buNone/>
              <a:defRPr/>
            </a:lvl1pPr>
          </a:lstStyle>
          <a:p>
            <a:r>
              <a:rPr lang="en-US" dirty="0"/>
              <a:t>Click to add photo</a:t>
            </a:r>
          </a:p>
        </p:txBody>
      </p:sp>
      <p:grpSp>
        <p:nvGrpSpPr>
          <p:cNvPr id="18" name="Graphic 185">
            <a:extLst>
              <a:ext uri="{FF2B5EF4-FFF2-40B4-BE49-F238E27FC236}">
                <a16:creationId xmlns:a16="http://schemas.microsoft.com/office/drawing/2014/main" id="{93CF5D64-69BB-4E77-ADC8-7D645E7AA4F1}"/>
              </a:ext>
              <a:ext uri="{C183D7F6-B498-43B3-948B-1728B52AA6E4}">
                <adec:decorative xmlns:adec="http://schemas.microsoft.com/office/drawing/2017/decorative" val="1"/>
              </a:ext>
            </a:extLst>
          </p:cNvPr>
          <p:cNvGrpSpPr/>
          <p:nvPr userDrawn="1"/>
        </p:nvGrpSpPr>
        <p:grpSpPr>
          <a:xfrm>
            <a:off x="3220677" y="5565632"/>
            <a:ext cx="1054467" cy="469689"/>
            <a:chOff x="9841624" y="4115729"/>
            <a:chExt cx="602170" cy="268223"/>
          </a:xfrm>
          <a:solidFill>
            <a:schemeClr val="tx1"/>
          </a:solidFill>
        </p:grpSpPr>
        <p:sp>
          <p:nvSpPr>
            <p:cNvPr id="19" name="Freeform: Shape 18">
              <a:extLst>
                <a:ext uri="{FF2B5EF4-FFF2-40B4-BE49-F238E27FC236}">
                  <a16:creationId xmlns:a16="http://schemas.microsoft.com/office/drawing/2014/main" id="{019D8F1E-2249-41BC-B8BD-4C8F7824B1B0}"/>
                </a:ext>
              </a:extLst>
            </p:cNvPr>
            <p:cNvSpPr/>
            <p:nvPr/>
          </p:nvSpPr>
          <p:spPr>
            <a:xfrm>
              <a:off x="9841624" y="4115729"/>
              <a:ext cx="202882" cy="268223"/>
            </a:xfrm>
            <a:custGeom>
              <a:avLst/>
              <a:gdLst>
                <a:gd name="connsiteX0" fmla="*/ 20765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765"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 name="Freeform: Shape 19">
              <a:extLst>
                <a:ext uri="{FF2B5EF4-FFF2-40B4-BE49-F238E27FC236}">
                  <a16:creationId xmlns:a16="http://schemas.microsoft.com/office/drawing/2014/main" id="{0834381D-9229-4B35-A551-0A2EBC5395D4}"/>
                </a:ext>
              </a:extLst>
            </p:cNvPr>
            <p:cNvSpPr/>
            <p:nvPr/>
          </p:nvSpPr>
          <p:spPr>
            <a:xfrm>
              <a:off x="9941445" y="4115729"/>
              <a:ext cx="202882" cy="268223"/>
            </a:xfrm>
            <a:custGeom>
              <a:avLst/>
              <a:gdLst>
                <a:gd name="connsiteX0" fmla="*/ 20765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765"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 name="Freeform: Shape 20">
              <a:extLst>
                <a:ext uri="{FF2B5EF4-FFF2-40B4-BE49-F238E27FC236}">
                  <a16:creationId xmlns:a16="http://schemas.microsoft.com/office/drawing/2014/main" id="{D9AAD997-2ABB-43CB-81B3-6508602D44B7}"/>
                </a:ext>
              </a:extLst>
            </p:cNvPr>
            <p:cNvSpPr/>
            <p:nvPr/>
          </p:nvSpPr>
          <p:spPr>
            <a:xfrm>
              <a:off x="10041267"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 name="Freeform: Shape 21">
              <a:extLst>
                <a:ext uri="{FF2B5EF4-FFF2-40B4-BE49-F238E27FC236}">
                  <a16:creationId xmlns:a16="http://schemas.microsoft.com/office/drawing/2014/main" id="{D77AF2C8-42E5-4E03-B110-57855A3EA4A0}"/>
                </a:ext>
              </a:extLst>
            </p:cNvPr>
            <p:cNvSpPr/>
            <p:nvPr/>
          </p:nvSpPr>
          <p:spPr>
            <a:xfrm>
              <a:off x="10141090"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 name="Freeform: Shape 22">
              <a:extLst>
                <a:ext uri="{FF2B5EF4-FFF2-40B4-BE49-F238E27FC236}">
                  <a16:creationId xmlns:a16="http://schemas.microsoft.com/office/drawing/2014/main" id="{0A98E12C-BD74-4556-8CE5-24BDB9B92957}"/>
                </a:ext>
              </a:extLst>
            </p:cNvPr>
            <p:cNvSpPr/>
            <p:nvPr/>
          </p:nvSpPr>
          <p:spPr>
            <a:xfrm>
              <a:off x="10240911"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grpSp>
      <p:sp>
        <p:nvSpPr>
          <p:cNvPr id="16" name="Date Placeholder 8">
            <a:extLst>
              <a:ext uri="{FF2B5EF4-FFF2-40B4-BE49-F238E27FC236}">
                <a16:creationId xmlns:a16="http://schemas.microsoft.com/office/drawing/2014/main" id="{19544747-A258-414B-A18E-FE0D00F027A1}"/>
              </a:ext>
            </a:extLst>
          </p:cNvPr>
          <p:cNvSpPr>
            <a:spLocks noGrp="1"/>
          </p:cNvSpPr>
          <p:nvPr>
            <p:ph type="dt" sz="half" idx="10"/>
          </p:nvPr>
        </p:nvSpPr>
        <p:spPr>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a:ln>
                  <a:noFill/>
                </a:ln>
                <a:solidFill>
                  <a:prstClr val="black">
                    <a:tint val="75000"/>
                  </a:prstClr>
                </a:solidFill>
                <a:effectLst/>
                <a:uLnTx/>
                <a:uFillTx/>
                <a:latin typeface="Source Sans Pro"/>
                <a:cs typeface="+mn-cs"/>
              </a:rPr>
              <a:t>2/1/20XX</a:t>
            </a:r>
            <a:endParaRPr kumimoji="0" lang="en-US" sz="1200" b="1" i="0" u="none" strike="noStrike" kern="1200" cap="all" spc="100" normalizeH="0" baseline="0" noProof="0" dirty="0">
              <a:ln>
                <a:noFill/>
              </a:ln>
              <a:solidFill>
                <a:prstClr val="black">
                  <a:tint val="75000"/>
                </a:prstClr>
              </a:solidFill>
              <a:effectLst/>
              <a:uLnTx/>
              <a:uFillTx/>
              <a:latin typeface="Source Sans Pro"/>
              <a:cs typeface="+mn-cs"/>
            </a:endParaRPr>
          </a:p>
        </p:txBody>
      </p:sp>
      <p:sp>
        <p:nvSpPr>
          <p:cNvPr id="17" name="Footer Placeholder 9">
            <a:extLst>
              <a:ext uri="{FF2B5EF4-FFF2-40B4-BE49-F238E27FC236}">
                <a16:creationId xmlns:a16="http://schemas.microsoft.com/office/drawing/2014/main" id="{80C9B95E-5D5F-4B79-BBC6-AA8023F361C8}"/>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dirty="0">
                <a:ln>
                  <a:noFill/>
                </a:ln>
                <a:solidFill>
                  <a:prstClr val="black">
                    <a:tint val="75000"/>
                  </a:prstClr>
                </a:solidFill>
                <a:effectLst/>
                <a:uLnTx/>
                <a:uFillTx/>
                <a:latin typeface="Source Sans Pro"/>
                <a:cs typeface="+mn-cs"/>
              </a:rPr>
              <a:t>PRESENTATION TITLE</a:t>
            </a:r>
          </a:p>
        </p:txBody>
      </p:sp>
      <p:sp>
        <p:nvSpPr>
          <p:cNvPr id="24" name="Slide Number Placeholder 10">
            <a:extLst>
              <a:ext uri="{FF2B5EF4-FFF2-40B4-BE49-F238E27FC236}">
                <a16:creationId xmlns:a16="http://schemas.microsoft.com/office/drawing/2014/main" id="{B5FBBF51-B6B9-4243-98A9-DDFADA05411D}"/>
              </a:ext>
            </a:extLst>
          </p:cNvPr>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450C42-9A0B-4425-92C2-70FCF7C45734}" type="slidenum">
              <a:rPr kumimoji="0" lang="en-US" sz="1200" b="1" i="0" u="none" strike="noStrike" kern="1200" cap="all" spc="100" normalizeH="0" baseline="0" noProof="0" smtClean="0">
                <a:ln>
                  <a:noFill/>
                </a:ln>
                <a:solidFill>
                  <a:prstClr val="black">
                    <a:tint val="75000"/>
                  </a:prstClr>
                </a:solidFill>
                <a:effectLst/>
                <a:uLnTx/>
                <a:uFillTx/>
                <a:latin typeface="Source Sans Pro"/>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all" spc="100" normalizeH="0" baseline="0" noProof="0" dirty="0">
              <a:ln>
                <a:noFill/>
              </a:ln>
              <a:solidFill>
                <a:prstClr val="black">
                  <a:tint val="75000"/>
                </a:prstClr>
              </a:solidFill>
              <a:effectLst/>
              <a:uLnTx/>
              <a:uFillTx/>
              <a:latin typeface="Source Sans Pro"/>
              <a:cs typeface="+mn-cs"/>
            </a:endParaRPr>
          </a:p>
        </p:txBody>
      </p:sp>
      <p:grpSp>
        <p:nvGrpSpPr>
          <p:cNvPr id="29" name="Group 28">
            <a:extLst>
              <a:ext uri="{FF2B5EF4-FFF2-40B4-BE49-F238E27FC236}">
                <a16:creationId xmlns:a16="http://schemas.microsoft.com/office/drawing/2014/main" id="{1999C8F0-23CF-43DE-A39C-94B126C6EF63}"/>
              </a:ext>
              <a:ext uri="{C183D7F6-B498-43B3-948B-1728B52AA6E4}">
                <adec:decorative xmlns:adec="http://schemas.microsoft.com/office/drawing/2017/decorative" val="1"/>
              </a:ext>
            </a:extLst>
          </p:cNvPr>
          <p:cNvGrpSpPr/>
          <p:nvPr userDrawn="1"/>
        </p:nvGrpSpPr>
        <p:grpSpPr>
          <a:xfrm>
            <a:off x="0" y="431836"/>
            <a:ext cx="1861854" cy="717514"/>
            <a:chOff x="0" y="1580033"/>
            <a:chExt cx="1861854" cy="717514"/>
          </a:xfrm>
        </p:grpSpPr>
        <p:sp>
          <p:nvSpPr>
            <p:cNvPr id="30" name="Freeform: Shape 29">
              <a:extLst>
                <a:ext uri="{FF2B5EF4-FFF2-40B4-BE49-F238E27FC236}">
                  <a16:creationId xmlns:a16="http://schemas.microsoft.com/office/drawing/2014/main" id="{1F9B7492-8A54-4020-83A1-E2AEE5724245}"/>
                </a:ext>
                <a:ext uri="{C183D7F6-B498-43B3-948B-1728B52AA6E4}">
                  <adec:decorative xmlns:adec="http://schemas.microsoft.com/office/drawing/2017/decorative" val="1"/>
                </a:ext>
              </a:extLst>
            </p:cNvPr>
            <p:cNvSpPr/>
            <p:nvPr userDrawn="1"/>
          </p:nvSpPr>
          <p:spPr>
            <a:xfrm>
              <a:off x="0" y="1580033"/>
              <a:ext cx="1861854" cy="277779"/>
            </a:xfrm>
            <a:custGeom>
              <a:avLst/>
              <a:gdLst>
                <a:gd name="connsiteX0" fmla="*/ 180458 w 1861854"/>
                <a:gd name="connsiteY0" fmla="*/ 0 h 277779"/>
                <a:gd name="connsiteX1" fmla="*/ 419222 w 1861854"/>
                <a:gd name="connsiteY1" fmla="*/ 238761 h 277779"/>
                <a:gd name="connsiteX2" fmla="*/ 657984 w 1861854"/>
                <a:gd name="connsiteY2" fmla="*/ 0 h 277779"/>
                <a:gd name="connsiteX3" fmla="*/ 896745 w 1861854"/>
                <a:gd name="connsiteY3" fmla="*/ 238761 h 277779"/>
                <a:gd name="connsiteX4" fmla="*/ 1135754 w 1861854"/>
                <a:gd name="connsiteY4" fmla="*/ 0 h 277779"/>
                <a:gd name="connsiteX5" fmla="*/ 1374516 w 1861854"/>
                <a:gd name="connsiteY5" fmla="*/ 238761 h 277779"/>
                <a:gd name="connsiteX6" fmla="*/ 1613277 w 1861854"/>
                <a:gd name="connsiteY6" fmla="*/ 0 h 277779"/>
                <a:gd name="connsiteX7" fmla="*/ 1861854 w 1861854"/>
                <a:gd name="connsiteY7" fmla="*/ 248577 h 277779"/>
                <a:gd name="connsiteX8" fmla="*/ 1842470 w 1861854"/>
                <a:gd name="connsiteY8" fmla="*/ 267963 h 277779"/>
                <a:gd name="connsiteX9" fmla="*/ 1613277 w 1861854"/>
                <a:gd name="connsiteY9" fmla="*/ 39017 h 277779"/>
                <a:gd name="connsiteX10" fmla="*/ 1374516 w 1861854"/>
                <a:gd name="connsiteY10" fmla="*/ 277779 h 277779"/>
                <a:gd name="connsiteX11" fmla="*/ 1135754 w 1861854"/>
                <a:gd name="connsiteY11" fmla="*/ 39017 h 277779"/>
                <a:gd name="connsiteX12" fmla="*/ 896745 w 1861854"/>
                <a:gd name="connsiteY12" fmla="*/ 277779 h 277779"/>
                <a:gd name="connsiteX13" fmla="*/ 657984 w 1861854"/>
                <a:gd name="connsiteY13" fmla="*/ 39017 h 277779"/>
                <a:gd name="connsiteX14" fmla="*/ 419222 w 1861854"/>
                <a:gd name="connsiteY14" fmla="*/ 277779 h 277779"/>
                <a:gd name="connsiteX15" fmla="*/ 180458 w 1861854"/>
                <a:gd name="connsiteY15" fmla="*/ 39017 h 277779"/>
                <a:gd name="connsiteX16" fmla="*/ 0 w 1861854"/>
                <a:gd name="connsiteY16" fmla="*/ 219283 h 277779"/>
                <a:gd name="connsiteX17" fmla="*/ 0 w 1861854"/>
                <a:gd name="connsiteY17" fmla="*/ 180458 h 27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1854" h="277779">
                  <a:moveTo>
                    <a:pt x="180458" y="0"/>
                  </a:moveTo>
                  <a:lnTo>
                    <a:pt x="419222" y="238761"/>
                  </a:lnTo>
                  <a:lnTo>
                    <a:pt x="657984" y="0"/>
                  </a:lnTo>
                  <a:lnTo>
                    <a:pt x="896745" y="238761"/>
                  </a:lnTo>
                  <a:lnTo>
                    <a:pt x="1135754" y="0"/>
                  </a:lnTo>
                  <a:lnTo>
                    <a:pt x="1374516" y="238761"/>
                  </a:lnTo>
                  <a:lnTo>
                    <a:pt x="1613277" y="0"/>
                  </a:lnTo>
                  <a:lnTo>
                    <a:pt x="1861854" y="248577"/>
                  </a:lnTo>
                  <a:lnTo>
                    <a:pt x="1842470" y="267963"/>
                  </a:lnTo>
                  <a:lnTo>
                    <a:pt x="1613277" y="39017"/>
                  </a:lnTo>
                  <a:lnTo>
                    <a:pt x="1374516" y="277779"/>
                  </a:lnTo>
                  <a:lnTo>
                    <a:pt x="1135754" y="39017"/>
                  </a:lnTo>
                  <a:lnTo>
                    <a:pt x="896745" y="277779"/>
                  </a:lnTo>
                  <a:lnTo>
                    <a:pt x="657984" y="39017"/>
                  </a:lnTo>
                  <a:lnTo>
                    <a:pt x="419222" y="277779"/>
                  </a:lnTo>
                  <a:lnTo>
                    <a:pt x="180458" y="39017"/>
                  </a:lnTo>
                  <a:lnTo>
                    <a:pt x="0" y="219283"/>
                  </a:lnTo>
                  <a:lnTo>
                    <a:pt x="0" y="180458"/>
                  </a:lnTo>
                  <a:close/>
                </a:path>
              </a:pathLst>
            </a:custGeom>
            <a:solidFill>
              <a:schemeClr val="tx1"/>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 name="Freeform: Shape 30">
              <a:extLst>
                <a:ext uri="{FF2B5EF4-FFF2-40B4-BE49-F238E27FC236}">
                  <a16:creationId xmlns:a16="http://schemas.microsoft.com/office/drawing/2014/main" id="{39DA5407-EA48-4921-BA3C-71E94101C72C}"/>
                </a:ext>
                <a:ext uri="{C183D7F6-B498-43B3-948B-1728B52AA6E4}">
                  <adec:decorative xmlns:adec="http://schemas.microsoft.com/office/drawing/2017/decorative" val="1"/>
                </a:ext>
              </a:extLst>
            </p:cNvPr>
            <p:cNvSpPr/>
            <p:nvPr userDrawn="1"/>
          </p:nvSpPr>
          <p:spPr>
            <a:xfrm>
              <a:off x="0" y="2019768"/>
              <a:ext cx="1861854" cy="277779"/>
            </a:xfrm>
            <a:custGeom>
              <a:avLst/>
              <a:gdLst>
                <a:gd name="connsiteX0" fmla="*/ 180458 w 1861854"/>
                <a:gd name="connsiteY0" fmla="*/ 0 h 277779"/>
                <a:gd name="connsiteX1" fmla="*/ 419222 w 1861854"/>
                <a:gd name="connsiteY1" fmla="*/ 238761 h 277779"/>
                <a:gd name="connsiteX2" fmla="*/ 657984 w 1861854"/>
                <a:gd name="connsiteY2" fmla="*/ 0 h 277779"/>
                <a:gd name="connsiteX3" fmla="*/ 896745 w 1861854"/>
                <a:gd name="connsiteY3" fmla="*/ 238761 h 277779"/>
                <a:gd name="connsiteX4" fmla="*/ 1135754 w 1861854"/>
                <a:gd name="connsiteY4" fmla="*/ 0 h 277779"/>
                <a:gd name="connsiteX5" fmla="*/ 1374516 w 1861854"/>
                <a:gd name="connsiteY5" fmla="*/ 238761 h 277779"/>
                <a:gd name="connsiteX6" fmla="*/ 1613277 w 1861854"/>
                <a:gd name="connsiteY6" fmla="*/ 0 h 277779"/>
                <a:gd name="connsiteX7" fmla="*/ 1861854 w 1861854"/>
                <a:gd name="connsiteY7" fmla="*/ 248577 h 277779"/>
                <a:gd name="connsiteX8" fmla="*/ 1842470 w 1861854"/>
                <a:gd name="connsiteY8" fmla="*/ 268208 h 277779"/>
                <a:gd name="connsiteX9" fmla="*/ 1613277 w 1861854"/>
                <a:gd name="connsiteY9" fmla="*/ 39017 h 277779"/>
                <a:gd name="connsiteX10" fmla="*/ 1374516 w 1861854"/>
                <a:gd name="connsiteY10" fmla="*/ 277779 h 277779"/>
                <a:gd name="connsiteX11" fmla="*/ 1135754 w 1861854"/>
                <a:gd name="connsiteY11" fmla="*/ 39017 h 277779"/>
                <a:gd name="connsiteX12" fmla="*/ 896745 w 1861854"/>
                <a:gd name="connsiteY12" fmla="*/ 277779 h 277779"/>
                <a:gd name="connsiteX13" fmla="*/ 657984 w 1861854"/>
                <a:gd name="connsiteY13" fmla="*/ 39017 h 277779"/>
                <a:gd name="connsiteX14" fmla="*/ 419222 w 1861854"/>
                <a:gd name="connsiteY14" fmla="*/ 277779 h 277779"/>
                <a:gd name="connsiteX15" fmla="*/ 180458 w 1861854"/>
                <a:gd name="connsiteY15" fmla="*/ 39017 h 277779"/>
                <a:gd name="connsiteX16" fmla="*/ 0 w 1861854"/>
                <a:gd name="connsiteY16" fmla="*/ 219475 h 277779"/>
                <a:gd name="connsiteX17" fmla="*/ 0 w 1861854"/>
                <a:gd name="connsiteY17" fmla="*/ 180458 h 27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1854" h="277779">
                  <a:moveTo>
                    <a:pt x="180458" y="0"/>
                  </a:moveTo>
                  <a:lnTo>
                    <a:pt x="419222" y="238761"/>
                  </a:lnTo>
                  <a:lnTo>
                    <a:pt x="657984" y="0"/>
                  </a:lnTo>
                  <a:lnTo>
                    <a:pt x="896745" y="238761"/>
                  </a:lnTo>
                  <a:lnTo>
                    <a:pt x="1135754" y="0"/>
                  </a:lnTo>
                  <a:lnTo>
                    <a:pt x="1374516" y="238761"/>
                  </a:lnTo>
                  <a:lnTo>
                    <a:pt x="1613277" y="0"/>
                  </a:lnTo>
                  <a:lnTo>
                    <a:pt x="1861854" y="248577"/>
                  </a:lnTo>
                  <a:lnTo>
                    <a:pt x="1842470" y="268208"/>
                  </a:lnTo>
                  <a:lnTo>
                    <a:pt x="1613277" y="39017"/>
                  </a:lnTo>
                  <a:lnTo>
                    <a:pt x="1374516" y="277779"/>
                  </a:lnTo>
                  <a:lnTo>
                    <a:pt x="1135754" y="39017"/>
                  </a:lnTo>
                  <a:lnTo>
                    <a:pt x="896745" y="277779"/>
                  </a:lnTo>
                  <a:lnTo>
                    <a:pt x="657984" y="39017"/>
                  </a:lnTo>
                  <a:lnTo>
                    <a:pt x="419222" y="277779"/>
                  </a:lnTo>
                  <a:lnTo>
                    <a:pt x="180458" y="39017"/>
                  </a:lnTo>
                  <a:lnTo>
                    <a:pt x="0" y="219475"/>
                  </a:lnTo>
                  <a:lnTo>
                    <a:pt x="0" y="180458"/>
                  </a:lnTo>
                  <a:close/>
                </a:path>
              </a:pathLst>
            </a:custGeom>
            <a:solidFill>
              <a:schemeClr val="tx1"/>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grpSp>
      <p:grpSp>
        <p:nvGrpSpPr>
          <p:cNvPr id="35" name="Group 34">
            <a:extLst>
              <a:ext uri="{FF2B5EF4-FFF2-40B4-BE49-F238E27FC236}">
                <a16:creationId xmlns:a16="http://schemas.microsoft.com/office/drawing/2014/main" id="{0AC95BD4-4EFC-45C6-B985-229FD300B1ED}"/>
              </a:ext>
              <a:ext uri="{C183D7F6-B498-43B3-948B-1728B52AA6E4}">
                <adec:decorative xmlns:adec="http://schemas.microsoft.com/office/drawing/2017/decorative" val="1"/>
              </a:ext>
            </a:extLst>
          </p:cNvPr>
          <p:cNvGrpSpPr/>
          <p:nvPr userDrawn="1"/>
        </p:nvGrpSpPr>
        <p:grpSpPr>
          <a:xfrm>
            <a:off x="6519255" y="3650586"/>
            <a:ext cx="319941" cy="319941"/>
            <a:chOff x="1126512" y="4357092"/>
            <a:chExt cx="319941" cy="319941"/>
          </a:xfrm>
        </p:grpSpPr>
        <p:sp>
          <p:nvSpPr>
            <p:cNvPr id="36" name="Oval 35">
              <a:extLst>
                <a:ext uri="{FF2B5EF4-FFF2-40B4-BE49-F238E27FC236}">
                  <a16:creationId xmlns:a16="http://schemas.microsoft.com/office/drawing/2014/main" id="{A4784AD1-E3D1-4566-9041-95AAA1DA8101}"/>
                </a:ext>
                <a:ext uri="{C183D7F6-B498-43B3-948B-1728B52AA6E4}">
                  <adec:decorative xmlns:adec="http://schemas.microsoft.com/office/drawing/2017/decorative" val="1"/>
                </a:ext>
              </a:extLst>
            </p:cNvPr>
            <p:cNvSpPr/>
            <p:nvPr userDrawn="1"/>
          </p:nvSpPr>
          <p:spPr>
            <a:xfrm>
              <a:off x="1126512" y="4357092"/>
              <a:ext cx="319941" cy="319941"/>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37" name="Oval 36">
              <a:extLst>
                <a:ext uri="{FF2B5EF4-FFF2-40B4-BE49-F238E27FC236}">
                  <a16:creationId xmlns:a16="http://schemas.microsoft.com/office/drawing/2014/main" id="{0147C571-802C-479F-B289-5F5D178E92EA}"/>
                </a:ext>
                <a:ext uri="{C183D7F6-B498-43B3-948B-1728B52AA6E4}">
                  <adec:decorative xmlns:adec="http://schemas.microsoft.com/office/drawing/2017/decorative" val="1"/>
                </a:ext>
              </a:extLst>
            </p:cNvPr>
            <p:cNvSpPr/>
            <p:nvPr userDrawn="1"/>
          </p:nvSpPr>
          <p:spPr>
            <a:xfrm>
              <a:off x="1126512" y="4357092"/>
              <a:ext cx="319941" cy="319941"/>
            </a:xfrm>
            <a:prstGeom prst="ellipse">
              <a:avLst/>
            </a:prstGeom>
            <a:solidFill>
              <a:schemeClr val="accent3">
                <a:alpha val="2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grpSp>
    </p:spTree>
    <p:extLst>
      <p:ext uri="{BB962C8B-B14F-4D97-AF65-F5344CB8AC3E}">
        <p14:creationId xmlns:p14="http://schemas.microsoft.com/office/powerpoint/2010/main" val="24800152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60" name="Title 1">
            <a:extLst>
              <a:ext uri="{FF2B5EF4-FFF2-40B4-BE49-F238E27FC236}">
                <a16:creationId xmlns:a16="http://schemas.microsoft.com/office/drawing/2014/main" id="{BF92C786-F148-4356-BCC8-D4DB6DC80390}"/>
              </a:ext>
            </a:extLst>
          </p:cNvPr>
          <p:cNvSpPr>
            <a:spLocks noGrp="1"/>
          </p:cNvSpPr>
          <p:nvPr>
            <p:ph type="title"/>
          </p:nvPr>
        </p:nvSpPr>
        <p:spPr>
          <a:xfrm>
            <a:off x="5956784" y="396117"/>
            <a:ext cx="5217172" cy="1158857"/>
          </a:xfrm>
        </p:spPr>
        <p:txBody>
          <a:bodyPr anchor="b">
            <a:normAutofit/>
          </a:bodyPr>
          <a:lstStyle/>
          <a:p>
            <a:r>
              <a:rPr lang="en-US"/>
              <a:t>Click to edit Master title style</a:t>
            </a:r>
          </a:p>
        </p:txBody>
      </p:sp>
      <p:sp>
        <p:nvSpPr>
          <p:cNvPr id="45" name="Picture Placeholder 2">
            <a:extLst>
              <a:ext uri="{FF2B5EF4-FFF2-40B4-BE49-F238E27FC236}">
                <a16:creationId xmlns:a16="http://schemas.microsoft.com/office/drawing/2014/main" id="{CC8A9357-2526-4109-8861-DCB89A78CA7F}"/>
              </a:ext>
            </a:extLst>
          </p:cNvPr>
          <p:cNvSpPr>
            <a:spLocks noGrp="1"/>
          </p:cNvSpPr>
          <p:nvPr>
            <p:ph type="pic" sz="quarter" idx="13" hasCustomPrompt="1"/>
          </p:nvPr>
        </p:nvSpPr>
        <p:spPr>
          <a:xfrm>
            <a:off x="1526293" y="1554582"/>
            <a:ext cx="3555043" cy="3217333"/>
          </a:xfrm>
        </p:spPr>
        <p:txBody>
          <a:bodyPr/>
          <a:lstStyle>
            <a:lvl1pPr>
              <a:buFontTx/>
              <a:buNone/>
              <a:defRPr/>
            </a:lvl1pPr>
          </a:lstStyle>
          <a:p>
            <a:r>
              <a:rPr lang="en-US" dirty="0"/>
              <a:t>Click to add photo</a:t>
            </a:r>
          </a:p>
        </p:txBody>
      </p:sp>
      <p:sp>
        <p:nvSpPr>
          <p:cNvPr id="298" name="Content Placeholder 2">
            <a:extLst>
              <a:ext uri="{FF2B5EF4-FFF2-40B4-BE49-F238E27FC236}">
                <a16:creationId xmlns:a16="http://schemas.microsoft.com/office/drawing/2014/main" id="{F0A93A7F-1937-4643-B9E7-342A8CB87BBB}"/>
              </a:ext>
            </a:extLst>
          </p:cNvPr>
          <p:cNvSpPr>
            <a:spLocks noGrp="1"/>
          </p:cNvSpPr>
          <p:nvPr>
            <p:ph idx="1" hasCustomPrompt="1"/>
          </p:nvPr>
        </p:nvSpPr>
        <p:spPr>
          <a:xfrm>
            <a:off x="5956783" y="1747592"/>
            <a:ext cx="5217173" cy="4351338"/>
          </a:xfrm>
        </p:spPr>
        <p:txBody>
          <a:bodyPr>
            <a:normAutofit/>
          </a:bodyPr>
          <a:lstStyle>
            <a:lvl1pPr>
              <a:buFontTx/>
              <a:buNone/>
              <a:defRPr sz="2400"/>
            </a:lvl1pPr>
          </a:lstStyle>
          <a:p>
            <a:pPr>
              <a:lnSpc>
                <a:spcPct val="130000"/>
              </a:lnSpc>
            </a:pPr>
            <a:r>
              <a:rPr lang="en-US" dirty="0"/>
              <a:t>Click to add text</a:t>
            </a:r>
          </a:p>
        </p:txBody>
      </p:sp>
      <p:grpSp>
        <p:nvGrpSpPr>
          <p:cNvPr id="3" name="Group 2">
            <a:extLst>
              <a:ext uri="{FF2B5EF4-FFF2-40B4-BE49-F238E27FC236}">
                <a16:creationId xmlns:a16="http://schemas.microsoft.com/office/drawing/2014/main" id="{B5082B2A-0AFE-456C-9506-A5DAF807FFE7}"/>
              </a:ext>
              <a:ext uri="{C183D7F6-B498-43B3-948B-1728B52AA6E4}">
                <adec:decorative xmlns:adec="http://schemas.microsoft.com/office/drawing/2017/decorative" val="1"/>
              </a:ext>
            </a:extLst>
          </p:cNvPr>
          <p:cNvGrpSpPr/>
          <p:nvPr userDrawn="1"/>
        </p:nvGrpSpPr>
        <p:grpSpPr>
          <a:xfrm>
            <a:off x="739959" y="3491269"/>
            <a:ext cx="365021" cy="365021"/>
            <a:chOff x="739959" y="3491269"/>
            <a:chExt cx="365021" cy="365021"/>
          </a:xfrm>
        </p:grpSpPr>
        <p:sp>
          <p:nvSpPr>
            <p:cNvPr id="267" name="Oval 266">
              <a:extLst>
                <a:ext uri="{FF2B5EF4-FFF2-40B4-BE49-F238E27FC236}">
                  <a16:creationId xmlns:a16="http://schemas.microsoft.com/office/drawing/2014/main" id="{1D723022-AE16-42E7-AB92-B0D8FA9619B6}"/>
                </a:ext>
                <a:ext uri="{C183D7F6-B498-43B3-948B-1728B52AA6E4}">
                  <adec:decorative xmlns:adec="http://schemas.microsoft.com/office/drawing/2017/decorative" val="1"/>
                </a:ext>
              </a:extLst>
            </p:cNvPr>
            <p:cNvSpPr/>
            <p:nvPr userDrawn="1"/>
          </p:nvSpPr>
          <p:spPr>
            <a:xfrm>
              <a:off x="739959" y="3491269"/>
              <a:ext cx="365021" cy="365021"/>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68" name="Oval 267">
              <a:extLst>
                <a:ext uri="{FF2B5EF4-FFF2-40B4-BE49-F238E27FC236}">
                  <a16:creationId xmlns:a16="http://schemas.microsoft.com/office/drawing/2014/main" id="{01A660D0-3253-401B-9F04-DD8E71CC7A7F}"/>
                </a:ext>
                <a:ext uri="{C183D7F6-B498-43B3-948B-1728B52AA6E4}">
                  <adec:decorative xmlns:adec="http://schemas.microsoft.com/office/drawing/2017/decorative" val="1"/>
                </a:ext>
              </a:extLst>
            </p:cNvPr>
            <p:cNvSpPr/>
            <p:nvPr userDrawn="1"/>
          </p:nvSpPr>
          <p:spPr>
            <a:xfrm>
              <a:off x="739959" y="3491269"/>
              <a:ext cx="365021" cy="365021"/>
            </a:xfrm>
            <a:prstGeom prst="ellipse">
              <a:avLst/>
            </a:prstGeom>
            <a:solidFill>
              <a:schemeClr val="accent1">
                <a:alpha val="2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2" name="Group 1">
            <a:extLst>
              <a:ext uri="{FF2B5EF4-FFF2-40B4-BE49-F238E27FC236}">
                <a16:creationId xmlns:a16="http://schemas.microsoft.com/office/drawing/2014/main" id="{7D1E36DE-F754-4C67-AEDB-7A4CD5259E08}"/>
              </a:ext>
              <a:ext uri="{C183D7F6-B498-43B3-948B-1728B52AA6E4}">
                <adec:decorative xmlns:adec="http://schemas.microsoft.com/office/drawing/2017/decorative" val="1"/>
              </a:ext>
            </a:extLst>
          </p:cNvPr>
          <p:cNvGrpSpPr/>
          <p:nvPr userDrawn="1"/>
        </p:nvGrpSpPr>
        <p:grpSpPr>
          <a:xfrm>
            <a:off x="496583" y="550047"/>
            <a:ext cx="1910252" cy="709661"/>
            <a:chOff x="496583" y="795582"/>
            <a:chExt cx="1910252" cy="709661"/>
          </a:xfrm>
        </p:grpSpPr>
        <p:grpSp>
          <p:nvGrpSpPr>
            <p:cNvPr id="261" name="Graphic 38">
              <a:extLst>
                <a:ext uri="{FF2B5EF4-FFF2-40B4-BE49-F238E27FC236}">
                  <a16:creationId xmlns:a16="http://schemas.microsoft.com/office/drawing/2014/main" id="{A4AD9011-9DCC-4A0F-BA80-27E6D3D5C046}"/>
                </a:ext>
                <a:ext uri="{C183D7F6-B498-43B3-948B-1728B52AA6E4}">
                  <adec:decorative xmlns:adec="http://schemas.microsoft.com/office/drawing/2017/decorative" val="1"/>
                </a:ext>
              </a:extLst>
            </p:cNvPr>
            <p:cNvGrpSpPr/>
            <p:nvPr userDrawn="1"/>
          </p:nvGrpSpPr>
          <p:grpSpPr>
            <a:xfrm>
              <a:off x="496583" y="795582"/>
              <a:ext cx="1910252" cy="709661"/>
              <a:chOff x="2267504" y="2540250"/>
              <a:chExt cx="1990951" cy="739641"/>
            </a:xfrm>
            <a:solidFill>
              <a:schemeClr val="tx1"/>
            </a:solidFill>
          </p:grpSpPr>
          <p:sp>
            <p:nvSpPr>
              <p:cNvPr id="262" name="Freeform: Shape 261">
                <a:extLst>
                  <a:ext uri="{FF2B5EF4-FFF2-40B4-BE49-F238E27FC236}">
                    <a16:creationId xmlns:a16="http://schemas.microsoft.com/office/drawing/2014/main" id="{A0221D30-DD4B-4E09-850A-CBBAAA4A051C}"/>
                  </a:ext>
                </a:extLst>
              </p:cNvPr>
              <p:cNvSpPr/>
              <p:nvPr/>
            </p:nvSpPr>
            <p:spPr>
              <a:xfrm>
                <a:off x="2267504" y="254025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5835 h 286230"/>
                  <a:gd name="connsiteX8" fmla="*/ 255835 w 1990951"/>
                  <a:gd name="connsiteY8" fmla="*/ 0 h 286230"/>
                  <a:gd name="connsiteX9" fmla="*/ 504071 w 1990951"/>
                  <a:gd name="connsiteY9" fmla="*/ 245703 h 286230"/>
                  <a:gd name="connsiteX10" fmla="*/ 749773 w 1990951"/>
                  <a:gd name="connsiteY10" fmla="*/ 0 h 286230"/>
                  <a:gd name="connsiteX11" fmla="*/ 995476 w 1990951"/>
                  <a:gd name="connsiteY11" fmla="*/ 245703 h 286230"/>
                  <a:gd name="connsiteX12" fmla="*/ 1243712 w 1990951"/>
                  <a:gd name="connsiteY12" fmla="*/ 0 h 286230"/>
                  <a:gd name="connsiteX13" fmla="*/ 1489414 w 1990951"/>
                  <a:gd name="connsiteY13" fmla="*/ 245703 h 286230"/>
                  <a:gd name="connsiteX14" fmla="*/ 1735117 w 1990951"/>
                  <a:gd name="connsiteY14" fmla="*/ 0 h 286230"/>
                  <a:gd name="connsiteX15" fmla="*/ 1990952 w 1990951"/>
                  <a:gd name="connsiteY15" fmla="*/ 255835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5835"/>
                    </a:lnTo>
                    <a:lnTo>
                      <a:pt x="255835" y="0"/>
                    </a:lnTo>
                    <a:lnTo>
                      <a:pt x="504071" y="245703"/>
                    </a:lnTo>
                    <a:lnTo>
                      <a:pt x="749773" y="0"/>
                    </a:lnTo>
                    <a:lnTo>
                      <a:pt x="995476" y="245703"/>
                    </a:lnTo>
                    <a:lnTo>
                      <a:pt x="1243712" y="0"/>
                    </a:lnTo>
                    <a:lnTo>
                      <a:pt x="1489414" y="245703"/>
                    </a:lnTo>
                    <a:lnTo>
                      <a:pt x="1735117" y="0"/>
                    </a:lnTo>
                    <a:lnTo>
                      <a:pt x="1990952" y="255835"/>
                    </a:lnTo>
                    <a:lnTo>
                      <a:pt x="1973221" y="276099"/>
                    </a:lnTo>
                    <a:lnTo>
                      <a:pt x="1735117" y="40528"/>
                    </a:lnTo>
                    <a:close/>
                  </a:path>
                </a:pathLst>
              </a:custGeom>
              <a:grpFill/>
              <a:ln w="25320" cap="flat">
                <a:noFill/>
                <a:prstDash val="solid"/>
                <a:miter/>
              </a:ln>
            </p:spPr>
            <p:txBody>
              <a:bodyPr rtlCol="0" anchor="ctr"/>
              <a:lstStyle/>
              <a:p>
                <a:endParaRPr lang="en-US" dirty="0"/>
              </a:p>
            </p:txBody>
          </p:sp>
          <p:sp>
            <p:nvSpPr>
              <p:cNvPr id="263" name="Freeform: Shape 262">
                <a:extLst>
                  <a:ext uri="{FF2B5EF4-FFF2-40B4-BE49-F238E27FC236}">
                    <a16:creationId xmlns:a16="http://schemas.microsoft.com/office/drawing/2014/main" id="{3FDF1E24-BE7D-49F6-A5A0-29D2796918E4}"/>
                  </a:ext>
                </a:extLst>
              </p:cNvPr>
              <p:cNvSpPr/>
              <p:nvPr/>
            </p:nvSpPr>
            <p:spPr>
              <a:xfrm>
                <a:off x="2267504" y="299366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8368 h 286230"/>
                  <a:gd name="connsiteX8" fmla="*/ 255835 w 1990951"/>
                  <a:gd name="connsiteY8" fmla="*/ 0 h 286230"/>
                  <a:gd name="connsiteX9" fmla="*/ 504071 w 1990951"/>
                  <a:gd name="connsiteY9" fmla="*/ 248236 h 286230"/>
                  <a:gd name="connsiteX10" fmla="*/ 749773 w 1990951"/>
                  <a:gd name="connsiteY10" fmla="*/ 0 h 286230"/>
                  <a:gd name="connsiteX11" fmla="*/ 995476 w 1990951"/>
                  <a:gd name="connsiteY11" fmla="*/ 248236 h 286230"/>
                  <a:gd name="connsiteX12" fmla="*/ 1243712 w 1990951"/>
                  <a:gd name="connsiteY12" fmla="*/ 0 h 286230"/>
                  <a:gd name="connsiteX13" fmla="*/ 1489414 w 1990951"/>
                  <a:gd name="connsiteY13" fmla="*/ 248236 h 286230"/>
                  <a:gd name="connsiteX14" fmla="*/ 1735117 w 1990951"/>
                  <a:gd name="connsiteY14" fmla="*/ 0 h 286230"/>
                  <a:gd name="connsiteX15" fmla="*/ 1990952 w 1990951"/>
                  <a:gd name="connsiteY15" fmla="*/ 258368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8368"/>
                    </a:lnTo>
                    <a:lnTo>
                      <a:pt x="255835" y="0"/>
                    </a:lnTo>
                    <a:lnTo>
                      <a:pt x="504071" y="248236"/>
                    </a:lnTo>
                    <a:lnTo>
                      <a:pt x="749773" y="0"/>
                    </a:lnTo>
                    <a:lnTo>
                      <a:pt x="995476" y="248236"/>
                    </a:lnTo>
                    <a:lnTo>
                      <a:pt x="1243712" y="0"/>
                    </a:lnTo>
                    <a:lnTo>
                      <a:pt x="1489414" y="248236"/>
                    </a:lnTo>
                    <a:lnTo>
                      <a:pt x="1735117" y="0"/>
                    </a:lnTo>
                    <a:lnTo>
                      <a:pt x="1990952" y="258368"/>
                    </a:lnTo>
                    <a:lnTo>
                      <a:pt x="1973221" y="276099"/>
                    </a:lnTo>
                    <a:lnTo>
                      <a:pt x="1735117" y="40528"/>
                    </a:lnTo>
                    <a:close/>
                  </a:path>
                </a:pathLst>
              </a:custGeom>
              <a:grpFill/>
              <a:ln w="25320" cap="flat">
                <a:noFill/>
                <a:prstDash val="solid"/>
                <a:miter/>
              </a:ln>
            </p:spPr>
            <p:txBody>
              <a:bodyPr rtlCol="0" anchor="ctr"/>
              <a:lstStyle/>
              <a:p>
                <a:endParaRPr lang="en-US" dirty="0"/>
              </a:p>
            </p:txBody>
          </p:sp>
        </p:grpSp>
        <p:grpSp>
          <p:nvGrpSpPr>
            <p:cNvPr id="264" name="Graphic 38">
              <a:extLst>
                <a:ext uri="{FF2B5EF4-FFF2-40B4-BE49-F238E27FC236}">
                  <a16:creationId xmlns:a16="http://schemas.microsoft.com/office/drawing/2014/main" id="{BBB1AE73-7E55-49A4-8496-2B21B9BAB179}"/>
                </a:ext>
                <a:ext uri="{C183D7F6-B498-43B3-948B-1728B52AA6E4}">
                  <adec:decorative xmlns:adec="http://schemas.microsoft.com/office/drawing/2017/decorative" val="1"/>
                </a:ext>
              </a:extLst>
            </p:cNvPr>
            <p:cNvGrpSpPr/>
            <p:nvPr userDrawn="1"/>
          </p:nvGrpSpPr>
          <p:grpSpPr>
            <a:xfrm>
              <a:off x="496583" y="795582"/>
              <a:ext cx="1910252" cy="709661"/>
              <a:chOff x="2267504" y="2540250"/>
              <a:chExt cx="1990951" cy="739641"/>
            </a:xfrm>
            <a:solidFill>
              <a:schemeClr val="tx1">
                <a:alpha val="60000"/>
              </a:schemeClr>
            </a:solidFill>
          </p:grpSpPr>
          <p:sp>
            <p:nvSpPr>
              <p:cNvPr id="265" name="Freeform: Shape 264">
                <a:extLst>
                  <a:ext uri="{FF2B5EF4-FFF2-40B4-BE49-F238E27FC236}">
                    <a16:creationId xmlns:a16="http://schemas.microsoft.com/office/drawing/2014/main" id="{D8406302-2A06-4B65-834B-079262BAD676}"/>
                  </a:ext>
                </a:extLst>
              </p:cNvPr>
              <p:cNvSpPr/>
              <p:nvPr/>
            </p:nvSpPr>
            <p:spPr>
              <a:xfrm>
                <a:off x="2267504" y="254025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5835 h 286230"/>
                  <a:gd name="connsiteX8" fmla="*/ 255835 w 1990951"/>
                  <a:gd name="connsiteY8" fmla="*/ 0 h 286230"/>
                  <a:gd name="connsiteX9" fmla="*/ 504071 w 1990951"/>
                  <a:gd name="connsiteY9" fmla="*/ 245703 h 286230"/>
                  <a:gd name="connsiteX10" fmla="*/ 749773 w 1990951"/>
                  <a:gd name="connsiteY10" fmla="*/ 0 h 286230"/>
                  <a:gd name="connsiteX11" fmla="*/ 995476 w 1990951"/>
                  <a:gd name="connsiteY11" fmla="*/ 245703 h 286230"/>
                  <a:gd name="connsiteX12" fmla="*/ 1243712 w 1990951"/>
                  <a:gd name="connsiteY12" fmla="*/ 0 h 286230"/>
                  <a:gd name="connsiteX13" fmla="*/ 1489414 w 1990951"/>
                  <a:gd name="connsiteY13" fmla="*/ 245703 h 286230"/>
                  <a:gd name="connsiteX14" fmla="*/ 1735117 w 1990951"/>
                  <a:gd name="connsiteY14" fmla="*/ 0 h 286230"/>
                  <a:gd name="connsiteX15" fmla="*/ 1990952 w 1990951"/>
                  <a:gd name="connsiteY15" fmla="*/ 255835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5835"/>
                    </a:lnTo>
                    <a:lnTo>
                      <a:pt x="255835" y="0"/>
                    </a:lnTo>
                    <a:lnTo>
                      <a:pt x="504071" y="245703"/>
                    </a:lnTo>
                    <a:lnTo>
                      <a:pt x="749773" y="0"/>
                    </a:lnTo>
                    <a:lnTo>
                      <a:pt x="995476" y="245703"/>
                    </a:lnTo>
                    <a:lnTo>
                      <a:pt x="1243712" y="0"/>
                    </a:lnTo>
                    <a:lnTo>
                      <a:pt x="1489414" y="245703"/>
                    </a:lnTo>
                    <a:lnTo>
                      <a:pt x="1735117" y="0"/>
                    </a:lnTo>
                    <a:lnTo>
                      <a:pt x="1990952" y="255835"/>
                    </a:lnTo>
                    <a:lnTo>
                      <a:pt x="1973221" y="276099"/>
                    </a:lnTo>
                    <a:lnTo>
                      <a:pt x="1735117" y="40528"/>
                    </a:lnTo>
                    <a:close/>
                  </a:path>
                </a:pathLst>
              </a:custGeom>
              <a:grpFill/>
              <a:ln w="25320" cap="flat">
                <a:noFill/>
                <a:prstDash val="solid"/>
                <a:miter/>
              </a:ln>
            </p:spPr>
            <p:txBody>
              <a:bodyPr rtlCol="0" anchor="ctr"/>
              <a:lstStyle/>
              <a:p>
                <a:endParaRPr lang="en-US" dirty="0"/>
              </a:p>
            </p:txBody>
          </p:sp>
          <p:sp>
            <p:nvSpPr>
              <p:cNvPr id="266" name="Freeform: Shape 265">
                <a:extLst>
                  <a:ext uri="{FF2B5EF4-FFF2-40B4-BE49-F238E27FC236}">
                    <a16:creationId xmlns:a16="http://schemas.microsoft.com/office/drawing/2014/main" id="{8756BB86-0FFE-405F-8023-37552370FB06}"/>
                  </a:ext>
                </a:extLst>
              </p:cNvPr>
              <p:cNvSpPr/>
              <p:nvPr/>
            </p:nvSpPr>
            <p:spPr>
              <a:xfrm>
                <a:off x="2267504" y="299366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8368 h 286230"/>
                  <a:gd name="connsiteX8" fmla="*/ 255835 w 1990951"/>
                  <a:gd name="connsiteY8" fmla="*/ 0 h 286230"/>
                  <a:gd name="connsiteX9" fmla="*/ 504071 w 1990951"/>
                  <a:gd name="connsiteY9" fmla="*/ 248236 h 286230"/>
                  <a:gd name="connsiteX10" fmla="*/ 749773 w 1990951"/>
                  <a:gd name="connsiteY10" fmla="*/ 0 h 286230"/>
                  <a:gd name="connsiteX11" fmla="*/ 995476 w 1990951"/>
                  <a:gd name="connsiteY11" fmla="*/ 248236 h 286230"/>
                  <a:gd name="connsiteX12" fmla="*/ 1243712 w 1990951"/>
                  <a:gd name="connsiteY12" fmla="*/ 0 h 286230"/>
                  <a:gd name="connsiteX13" fmla="*/ 1489414 w 1990951"/>
                  <a:gd name="connsiteY13" fmla="*/ 248236 h 286230"/>
                  <a:gd name="connsiteX14" fmla="*/ 1735117 w 1990951"/>
                  <a:gd name="connsiteY14" fmla="*/ 0 h 286230"/>
                  <a:gd name="connsiteX15" fmla="*/ 1990952 w 1990951"/>
                  <a:gd name="connsiteY15" fmla="*/ 258368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8368"/>
                    </a:lnTo>
                    <a:lnTo>
                      <a:pt x="255835" y="0"/>
                    </a:lnTo>
                    <a:lnTo>
                      <a:pt x="504071" y="248236"/>
                    </a:lnTo>
                    <a:lnTo>
                      <a:pt x="749773" y="0"/>
                    </a:lnTo>
                    <a:lnTo>
                      <a:pt x="995476" y="248236"/>
                    </a:lnTo>
                    <a:lnTo>
                      <a:pt x="1243712" y="0"/>
                    </a:lnTo>
                    <a:lnTo>
                      <a:pt x="1489414" y="248236"/>
                    </a:lnTo>
                    <a:lnTo>
                      <a:pt x="1735117" y="0"/>
                    </a:lnTo>
                    <a:lnTo>
                      <a:pt x="1990952" y="258368"/>
                    </a:lnTo>
                    <a:lnTo>
                      <a:pt x="1973221" y="276099"/>
                    </a:lnTo>
                    <a:lnTo>
                      <a:pt x="1735117" y="40528"/>
                    </a:lnTo>
                    <a:close/>
                  </a:path>
                </a:pathLst>
              </a:custGeom>
              <a:grpFill/>
              <a:ln w="25320" cap="flat">
                <a:noFill/>
                <a:prstDash val="solid"/>
                <a:miter/>
              </a:ln>
            </p:spPr>
            <p:txBody>
              <a:bodyPr rtlCol="0" anchor="ctr"/>
              <a:lstStyle/>
              <a:p>
                <a:endParaRPr lang="en-US" dirty="0"/>
              </a:p>
            </p:txBody>
          </p:sp>
        </p:grpSp>
      </p:grpSp>
      <p:sp>
        <p:nvSpPr>
          <p:cNvPr id="299" name="Date Placeholder 178">
            <a:extLst>
              <a:ext uri="{FF2B5EF4-FFF2-40B4-BE49-F238E27FC236}">
                <a16:creationId xmlns:a16="http://schemas.microsoft.com/office/drawing/2014/main" id="{82E560EB-BE56-4EED-AE06-F6BBC6A77F06}"/>
              </a:ext>
            </a:extLst>
          </p:cNvPr>
          <p:cNvSpPr>
            <a:spLocks noGrp="1"/>
          </p:cNvSpPr>
          <p:nvPr>
            <p:ph type="dt" sz="half" idx="10"/>
          </p:nvPr>
        </p:nvSpPr>
        <p:spPr>
          <a:xfrm>
            <a:off x="838200" y="6356350"/>
            <a:ext cx="2743200" cy="365125"/>
          </a:xfrm>
        </p:spPr>
        <p:txBody>
          <a:bodyPr/>
          <a:lstStyle/>
          <a:p>
            <a:r>
              <a:rPr lang="en-US"/>
              <a:t>2/1/20XX</a:t>
            </a:r>
            <a:endParaRPr lang="en-US" dirty="0"/>
          </a:p>
        </p:txBody>
      </p:sp>
      <p:sp>
        <p:nvSpPr>
          <p:cNvPr id="300" name="Footer Placeholder 179">
            <a:extLst>
              <a:ext uri="{FF2B5EF4-FFF2-40B4-BE49-F238E27FC236}">
                <a16:creationId xmlns:a16="http://schemas.microsoft.com/office/drawing/2014/main" id="{B8F63808-3D77-44F6-BA39-EBAA7F3A644A}"/>
              </a:ext>
            </a:extLst>
          </p:cNvPr>
          <p:cNvSpPr>
            <a:spLocks noGrp="1"/>
          </p:cNvSpPr>
          <p:nvPr>
            <p:ph type="ftr" sz="quarter" idx="11"/>
          </p:nvPr>
        </p:nvSpPr>
        <p:spPr>
          <a:xfrm>
            <a:off x="4038600" y="6356350"/>
            <a:ext cx="4114800" cy="365125"/>
          </a:xfrm>
        </p:spPr>
        <p:txBody>
          <a:bodyPr/>
          <a:lstStyle/>
          <a:p>
            <a:r>
              <a:rPr lang="en-US" dirty="0"/>
              <a:t>PRESENTATION TITLE</a:t>
            </a:r>
          </a:p>
        </p:txBody>
      </p:sp>
      <p:sp>
        <p:nvSpPr>
          <p:cNvPr id="301" name="Slide Number Placeholder 180">
            <a:extLst>
              <a:ext uri="{FF2B5EF4-FFF2-40B4-BE49-F238E27FC236}">
                <a16:creationId xmlns:a16="http://schemas.microsoft.com/office/drawing/2014/main" id="{48A1F651-8B76-426E-B2A3-79B5E58870B3}"/>
              </a:ext>
            </a:extLst>
          </p:cNvPr>
          <p:cNvSpPr>
            <a:spLocks noGrp="1"/>
          </p:cNvSpPr>
          <p:nvPr>
            <p:ph type="sldNum" sz="quarter" idx="12"/>
          </p:nvPr>
        </p:nvSpPr>
        <p:spPr>
          <a:xfrm>
            <a:off x="8610600" y="6356350"/>
            <a:ext cx="2743200" cy="365125"/>
          </a:xfrm>
        </p:spPr>
        <p:txBody>
          <a:bodyPr/>
          <a:lstStyle/>
          <a:p>
            <a:fld id="{5EA792F7-1D9E-4C7E-A103-E8EDFDC2691E}" type="slidenum">
              <a:rPr lang="en-US" smtClean="0"/>
              <a:t>‹#›</a:t>
            </a:fld>
            <a:endParaRPr lang="en-US" dirty="0"/>
          </a:p>
        </p:txBody>
      </p:sp>
    </p:spTree>
    <p:extLst>
      <p:ext uri="{BB962C8B-B14F-4D97-AF65-F5344CB8AC3E}">
        <p14:creationId xmlns:p14="http://schemas.microsoft.com/office/powerpoint/2010/main" val="40334880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5F21EE69-A1CB-4D3C-A300-F309A781E65B}"/>
              </a:ext>
            </a:extLst>
          </p:cNvPr>
          <p:cNvSpPr>
            <a:spLocks noGrp="1"/>
          </p:cNvSpPr>
          <p:nvPr>
            <p:ph type="title"/>
          </p:nvPr>
        </p:nvSpPr>
        <p:spPr>
          <a:xfrm>
            <a:off x="938907" y="282800"/>
            <a:ext cx="5217172" cy="1288673"/>
          </a:xfrm>
        </p:spPr>
        <p:txBody>
          <a:bodyPr anchor="b">
            <a:normAutofit/>
          </a:bodyPr>
          <a:lstStyle/>
          <a:p>
            <a:r>
              <a:rPr lang="en-US"/>
              <a:t>Click to edit Master title style</a:t>
            </a:r>
            <a:endParaRPr lang="en-US" dirty="0"/>
          </a:p>
        </p:txBody>
      </p:sp>
      <p:sp>
        <p:nvSpPr>
          <p:cNvPr id="18" name="Content Placeholder 2">
            <a:extLst>
              <a:ext uri="{FF2B5EF4-FFF2-40B4-BE49-F238E27FC236}">
                <a16:creationId xmlns:a16="http://schemas.microsoft.com/office/drawing/2014/main" id="{04201678-5DBC-491F-AA38-F3DF166C36BE}"/>
              </a:ext>
            </a:extLst>
          </p:cNvPr>
          <p:cNvSpPr>
            <a:spLocks noGrp="1"/>
          </p:cNvSpPr>
          <p:nvPr>
            <p:ph idx="1" hasCustomPrompt="1"/>
          </p:nvPr>
        </p:nvSpPr>
        <p:spPr>
          <a:xfrm>
            <a:off x="938906" y="1715151"/>
            <a:ext cx="5217173" cy="4351338"/>
          </a:xfrm>
        </p:spPr>
        <p:txBody>
          <a:bodyPr>
            <a:normAutofit/>
          </a:bodyPr>
          <a:lstStyle>
            <a:lvl1pPr marL="0" indent="0">
              <a:lnSpc>
                <a:spcPct val="100000"/>
              </a:lnSpc>
              <a:buFontTx/>
              <a:buNone/>
              <a:defRPr sz="1800"/>
            </a:lvl1pPr>
          </a:lstStyle>
          <a:p>
            <a:pPr>
              <a:lnSpc>
                <a:spcPct val="130000"/>
              </a:lnSpc>
            </a:pPr>
            <a:r>
              <a:rPr lang="en-US" dirty="0"/>
              <a:t>Click to add text</a:t>
            </a:r>
          </a:p>
        </p:txBody>
      </p:sp>
      <p:sp>
        <p:nvSpPr>
          <p:cNvPr id="368" name="Picture Placeholder 370">
            <a:extLst>
              <a:ext uri="{FF2B5EF4-FFF2-40B4-BE49-F238E27FC236}">
                <a16:creationId xmlns:a16="http://schemas.microsoft.com/office/drawing/2014/main" id="{669561A4-DF87-4818-9B88-D1EF83F03B98}"/>
              </a:ext>
            </a:extLst>
          </p:cNvPr>
          <p:cNvSpPr>
            <a:spLocks noGrp="1"/>
          </p:cNvSpPr>
          <p:nvPr>
            <p:ph type="pic" sz="quarter" idx="13" hasCustomPrompt="1"/>
          </p:nvPr>
        </p:nvSpPr>
        <p:spPr>
          <a:xfrm>
            <a:off x="7235389" y="322503"/>
            <a:ext cx="4114800" cy="2931037"/>
          </a:xfrm>
        </p:spPr>
        <p:txBody>
          <a:bodyPr/>
          <a:lstStyle>
            <a:lvl1pPr>
              <a:buFontTx/>
              <a:buNone/>
              <a:defRPr/>
            </a:lvl1pPr>
          </a:lstStyle>
          <a:p>
            <a:r>
              <a:rPr lang="en-US" dirty="0"/>
              <a:t>Click to add photo</a:t>
            </a:r>
          </a:p>
        </p:txBody>
      </p:sp>
      <p:sp>
        <p:nvSpPr>
          <p:cNvPr id="369" name="Picture Placeholder 372">
            <a:extLst>
              <a:ext uri="{FF2B5EF4-FFF2-40B4-BE49-F238E27FC236}">
                <a16:creationId xmlns:a16="http://schemas.microsoft.com/office/drawing/2014/main" id="{FFEE5DD2-649D-41DC-9898-8730D76FDB98}"/>
              </a:ext>
            </a:extLst>
          </p:cNvPr>
          <p:cNvSpPr>
            <a:spLocks noGrp="1"/>
          </p:cNvSpPr>
          <p:nvPr>
            <p:ph type="pic" sz="quarter" idx="14" hasCustomPrompt="1"/>
          </p:nvPr>
        </p:nvSpPr>
        <p:spPr>
          <a:xfrm>
            <a:off x="7235389" y="3370011"/>
            <a:ext cx="4114799" cy="2931036"/>
          </a:xfrm>
        </p:spPr>
        <p:txBody>
          <a:bodyPr/>
          <a:lstStyle>
            <a:lvl1pPr>
              <a:buFontTx/>
              <a:buNone/>
              <a:defRPr/>
            </a:lvl1pPr>
          </a:lstStyle>
          <a:p>
            <a:r>
              <a:rPr lang="en-US" dirty="0"/>
              <a:t>Click to add photo</a:t>
            </a:r>
          </a:p>
        </p:txBody>
      </p:sp>
      <p:sp>
        <p:nvSpPr>
          <p:cNvPr id="385" name="Date Placeholder 384">
            <a:extLst>
              <a:ext uri="{FF2B5EF4-FFF2-40B4-BE49-F238E27FC236}">
                <a16:creationId xmlns:a16="http://schemas.microsoft.com/office/drawing/2014/main" id="{7B72116B-F388-4C73-BC4A-D8292B5DA7E2}"/>
              </a:ext>
            </a:extLst>
          </p:cNvPr>
          <p:cNvSpPr>
            <a:spLocks noGrp="1"/>
          </p:cNvSpPr>
          <p:nvPr>
            <p:ph type="dt" sz="half" idx="15"/>
          </p:nvPr>
        </p:nvSpPr>
        <p:spPr/>
        <p:txBody>
          <a:bodyPr/>
          <a:lstStyle/>
          <a:p>
            <a:r>
              <a:rPr lang="en-US"/>
              <a:t>2/1/20XX</a:t>
            </a:r>
            <a:endParaRPr lang="en-US" dirty="0"/>
          </a:p>
        </p:txBody>
      </p:sp>
      <p:sp>
        <p:nvSpPr>
          <p:cNvPr id="386" name="Footer Placeholder 385">
            <a:extLst>
              <a:ext uri="{FF2B5EF4-FFF2-40B4-BE49-F238E27FC236}">
                <a16:creationId xmlns:a16="http://schemas.microsoft.com/office/drawing/2014/main" id="{C072D4A9-194F-4843-B39B-6C34A5D2F221}"/>
              </a:ext>
            </a:extLst>
          </p:cNvPr>
          <p:cNvSpPr>
            <a:spLocks noGrp="1"/>
          </p:cNvSpPr>
          <p:nvPr>
            <p:ph type="ftr" sz="quarter" idx="16"/>
          </p:nvPr>
        </p:nvSpPr>
        <p:spPr/>
        <p:txBody>
          <a:bodyPr/>
          <a:lstStyle/>
          <a:p>
            <a:r>
              <a:rPr lang="en-US" dirty="0"/>
              <a:t>PRESENTATION TITLE</a:t>
            </a:r>
          </a:p>
        </p:txBody>
      </p:sp>
      <p:sp>
        <p:nvSpPr>
          <p:cNvPr id="387" name="Slide Number Placeholder 386">
            <a:extLst>
              <a:ext uri="{FF2B5EF4-FFF2-40B4-BE49-F238E27FC236}">
                <a16:creationId xmlns:a16="http://schemas.microsoft.com/office/drawing/2014/main" id="{7827E1CE-788E-4245-B60E-D39AFA591483}"/>
              </a:ext>
            </a:extLst>
          </p:cNvPr>
          <p:cNvSpPr>
            <a:spLocks noGrp="1"/>
          </p:cNvSpPr>
          <p:nvPr>
            <p:ph type="sldNum" sz="quarter" idx="17"/>
          </p:nvPr>
        </p:nvSpPr>
        <p:spPr/>
        <p:txBody>
          <a:bodyPr/>
          <a:lstStyle/>
          <a:p>
            <a:fld id="{5EA792F7-1D9E-4C7E-A103-E8EDFDC2691E}" type="slidenum">
              <a:rPr lang="en-US" smtClean="0"/>
              <a:t>‹#›</a:t>
            </a:fld>
            <a:endParaRPr lang="en-US" dirty="0"/>
          </a:p>
        </p:txBody>
      </p:sp>
      <p:grpSp>
        <p:nvGrpSpPr>
          <p:cNvPr id="9" name="Graphic 190">
            <a:extLst>
              <a:ext uri="{FF2B5EF4-FFF2-40B4-BE49-F238E27FC236}">
                <a16:creationId xmlns:a16="http://schemas.microsoft.com/office/drawing/2014/main" id="{06F4FBF1-A331-46A0-BDC5-7CEDEA62EE39}"/>
              </a:ext>
              <a:ext uri="{C183D7F6-B498-43B3-948B-1728B52AA6E4}">
                <adec:decorative xmlns:adec="http://schemas.microsoft.com/office/drawing/2017/decorative" val="1"/>
              </a:ext>
            </a:extLst>
          </p:cNvPr>
          <p:cNvGrpSpPr/>
          <p:nvPr userDrawn="1"/>
        </p:nvGrpSpPr>
        <p:grpSpPr>
          <a:xfrm>
            <a:off x="5756620" y="736826"/>
            <a:ext cx="1598829" cy="531293"/>
            <a:chOff x="2504802" y="1755501"/>
            <a:chExt cx="1598829" cy="531293"/>
          </a:xfrm>
          <a:solidFill>
            <a:schemeClr val="tx1"/>
          </a:solidFill>
        </p:grpSpPr>
        <p:sp>
          <p:nvSpPr>
            <p:cNvPr id="10" name="Freeform: Shape 9">
              <a:extLst>
                <a:ext uri="{FF2B5EF4-FFF2-40B4-BE49-F238E27FC236}">
                  <a16:creationId xmlns:a16="http://schemas.microsoft.com/office/drawing/2014/main" id="{AE637E45-FDA6-4FDD-96BD-4728E6FEF3C5}"/>
                </a:ext>
              </a:extLst>
            </p:cNvPr>
            <p:cNvSpPr/>
            <p:nvPr/>
          </p:nvSpPr>
          <p:spPr>
            <a:xfrm>
              <a:off x="2504802" y="2113855"/>
              <a:ext cx="1598614" cy="172939"/>
            </a:xfrm>
            <a:custGeom>
              <a:avLst/>
              <a:gdLst>
                <a:gd name="connsiteX0" fmla="*/ 1248648 w 1598614"/>
                <a:gd name="connsiteY0" fmla="*/ 172939 h 172939"/>
                <a:gd name="connsiteX1" fmla="*/ 1123031 w 1598614"/>
                <a:gd name="connsiteY1" fmla="*/ 92708 h 172939"/>
                <a:gd name="connsiteX2" fmla="*/ 1024085 w 1598614"/>
                <a:gd name="connsiteY2" fmla="*/ 29469 h 172939"/>
                <a:gd name="connsiteX3" fmla="*/ 925140 w 1598614"/>
                <a:gd name="connsiteY3" fmla="*/ 92708 h 172939"/>
                <a:gd name="connsiteX4" fmla="*/ 799522 w 1598614"/>
                <a:gd name="connsiteY4" fmla="*/ 172939 h 172939"/>
                <a:gd name="connsiteX5" fmla="*/ 799522 w 1598614"/>
                <a:gd name="connsiteY5" fmla="*/ 172939 h 172939"/>
                <a:gd name="connsiteX6" fmla="*/ 673905 w 1598614"/>
                <a:gd name="connsiteY6" fmla="*/ 92708 h 172939"/>
                <a:gd name="connsiteX7" fmla="*/ 574959 w 1598614"/>
                <a:gd name="connsiteY7" fmla="*/ 29469 h 172939"/>
                <a:gd name="connsiteX8" fmla="*/ 476014 w 1598614"/>
                <a:gd name="connsiteY8" fmla="*/ 92708 h 172939"/>
                <a:gd name="connsiteX9" fmla="*/ 350396 w 1598614"/>
                <a:gd name="connsiteY9" fmla="*/ 172939 h 172939"/>
                <a:gd name="connsiteX10" fmla="*/ 224778 w 1598614"/>
                <a:gd name="connsiteY10" fmla="*/ 92708 h 172939"/>
                <a:gd name="connsiteX11" fmla="*/ 125833 w 1598614"/>
                <a:gd name="connsiteY11" fmla="*/ 29469 h 172939"/>
                <a:gd name="connsiteX12" fmla="*/ 26887 w 1598614"/>
                <a:gd name="connsiteY12" fmla="*/ 92708 h 172939"/>
                <a:gd name="connsiteX13" fmla="*/ 0 w 1598614"/>
                <a:gd name="connsiteY13" fmla="*/ 80232 h 172939"/>
                <a:gd name="connsiteX14" fmla="*/ 125618 w 1598614"/>
                <a:gd name="connsiteY14" fmla="*/ 0 h 172939"/>
                <a:gd name="connsiteX15" fmla="*/ 251235 w 1598614"/>
                <a:gd name="connsiteY15" fmla="*/ 80232 h 172939"/>
                <a:gd name="connsiteX16" fmla="*/ 350181 w 1598614"/>
                <a:gd name="connsiteY16" fmla="*/ 143471 h 172939"/>
                <a:gd name="connsiteX17" fmla="*/ 449126 w 1598614"/>
                <a:gd name="connsiteY17" fmla="*/ 80232 h 172939"/>
                <a:gd name="connsiteX18" fmla="*/ 574744 w 1598614"/>
                <a:gd name="connsiteY18" fmla="*/ 0 h 172939"/>
                <a:gd name="connsiteX19" fmla="*/ 700362 w 1598614"/>
                <a:gd name="connsiteY19" fmla="*/ 80232 h 172939"/>
                <a:gd name="connsiteX20" fmla="*/ 799307 w 1598614"/>
                <a:gd name="connsiteY20" fmla="*/ 143471 h 172939"/>
                <a:gd name="connsiteX21" fmla="*/ 799307 w 1598614"/>
                <a:gd name="connsiteY21" fmla="*/ 143471 h 172939"/>
                <a:gd name="connsiteX22" fmla="*/ 898253 w 1598614"/>
                <a:gd name="connsiteY22" fmla="*/ 80232 h 172939"/>
                <a:gd name="connsiteX23" fmla="*/ 1023870 w 1598614"/>
                <a:gd name="connsiteY23" fmla="*/ 0 h 172939"/>
                <a:gd name="connsiteX24" fmla="*/ 1149488 w 1598614"/>
                <a:gd name="connsiteY24" fmla="*/ 80232 h 172939"/>
                <a:gd name="connsiteX25" fmla="*/ 1248433 w 1598614"/>
                <a:gd name="connsiteY25" fmla="*/ 143471 h 172939"/>
                <a:gd name="connsiteX26" fmla="*/ 1347379 w 1598614"/>
                <a:gd name="connsiteY26" fmla="*/ 80232 h 172939"/>
                <a:gd name="connsiteX27" fmla="*/ 1472997 w 1598614"/>
                <a:gd name="connsiteY27" fmla="*/ 0 h 172939"/>
                <a:gd name="connsiteX28" fmla="*/ 1598614 w 1598614"/>
                <a:gd name="connsiteY28" fmla="*/ 80232 h 172939"/>
                <a:gd name="connsiteX29" fmla="*/ 1571942 w 1598614"/>
                <a:gd name="connsiteY29" fmla="*/ 92708 h 172939"/>
                <a:gd name="connsiteX30" fmla="*/ 1472997 w 1598614"/>
                <a:gd name="connsiteY30" fmla="*/ 29469 h 172939"/>
                <a:gd name="connsiteX31" fmla="*/ 1374051 w 1598614"/>
                <a:gd name="connsiteY31" fmla="*/ 92708 h 172939"/>
                <a:gd name="connsiteX32" fmla="*/ 1248648 w 1598614"/>
                <a:gd name="connsiteY32" fmla="*/ 172939 h 17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98614" h="172939">
                  <a:moveTo>
                    <a:pt x="1248648" y="172939"/>
                  </a:moveTo>
                  <a:cubicBezTo>
                    <a:pt x="1194229" y="172939"/>
                    <a:pt x="1146046" y="142180"/>
                    <a:pt x="1123031" y="92708"/>
                  </a:cubicBezTo>
                  <a:cubicBezTo>
                    <a:pt x="1104962" y="53775"/>
                    <a:pt x="1067105" y="29469"/>
                    <a:pt x="1024085" y="29469"/>
                  </a:cubicBezTo>
                  <a:cubicBezTo>
                    <a:pt x="981066" y="29469"/>
                    <a:pt x="943208" y="53775"/>
                    <a:pt x="925140" y="92708"/>
                  </a:cubicBezTo>
                  <a:cubicBezTo>
                    <a:pt x="902124" y="142180"/>
                    <a:pt x="853942" y="172939"/>
                    <a:pt x="799522" y="172939"/>
                  </a:cubicBezTo>
                  <a:cubicBezTo>
                    <a:pt x="799522" y="172939"/>
                    <a:pt x="799522" y="172939"/>
                    <a:pt x="799522" y="172939"/>
                  </a:cubicBezTo>
                  <a:cubicBezTo>
                    <a:pt x="744887" y="172939"/>
                    <a:pt x="696920" y="142180"/>
                    <a:pt x="673905" y="92708"/>
                  </a:cubicBezTo>
                  <a:cubicBezTo>
                    <a:pt x="655836" y="53775"/>
                    <a:pt x="617979" y="29469"/>
                    <a:pt x="574959" y="29469"/>
                  </a:cubicBezTo>
                  <a:cubicBezTo>
                    <a:pt x="531939" y="29469"/>
                    <a:pt x="494082" y="53775"/>
                    <a:pt x="476014" y="92708"/>
                  </a:cubicBezTo>
                  <a:cubicBezTo>
                    <a:pt x="452998" y="142180"/>
                    <a:pt x="405031" y="172939"/>
                    <a:pt x="350396" y="172939"/>
                  </a:cubicBezTo>
                  <a:cubicBezTo>
                    <a:pt x="295976" y="172939"/>
                    <a:pt x="247794" y="142180"/>
                    <a:pt x="224778" y="92708"/>
                  </a:cubicBezTo>
                  <a:cubicBezTo>
                    <a:pt x="206710" y="53775"/>
                    <a:pt x="168853" y="29469"/>
                    <a:pt x="125833" y="29469"/>
                  </a:cubicBezTo>
                  <a:cubicBezTo>
                    <a:pt x="82813" y="29469"/>
                    <a:pt x="44956" y="53775"/>
                    <a:pt x="26887" y="92708"/>
                  </a:cubicBezTo>
                  <a:lnTo>
                    <a:pt x="0" y="80232"/>
                  </a:lnTo>
                  <a:cubicBezTo>
                    <a:pt x="23016" y="30759"/>
                    <a:pt x="70983" y="0"/>
                    <a:pt x="125618" y="0"/>
                  </a:cubicBezTo>
                  <a:cubicBezTo>
                    <a:pt x="180253" y="0"/>
                    <a:pt x="228220" y="30759"/>
                    <a:pt x="251235" y="80232"/>
                  </a:cubicBezTo>
                  <a:cubicBezTo>
                    <a:pt x="269304" y="119165"/>
                    <a:pt x="307376" y="143471"/>
                    <a:pt x="350181" y="143471"/>
                  </a:cubicBezTo>
                  <a:cubicBezTo>
                    <a:pt x="393201" y="143471"/>
                    <a:pt x="431058" y="119165"/>
                    <a:pt x="449126" y="80232"/>
                  </a:cubicBezTo>
                  <a:cubicBezTo>
                    <a:pt x="472142" y="30759"/>
                    <a:pt x="520324" y="0"/>
                    <a:pt x="574744" y="0"/>
                  </a:cubicBezTo>
                  <a:cubicBezTo>
                    <a:pt x="629164" y="0"/>
                    <a:pt x="677346" y="30759"/>
                    <a:pt x="700362" y="80232"/>
                  </a:cubicBezTo>
                  <a:cubicBezTo>
                    <a:pt x="718430" y="119165"/>
                    <a:pt x="756287" y="143471"/>
                    <a:pt x="799307" y="143471"/>
                  </a:cubicBezTo>
                  <a:lnTo>
                    <a:pt x="799307" y="143471"/>
                  </a:lnTo>
                  <a:cubicBezTo>
                    <a:pt x="842327" y="143471"/>
                    <a:pt x="880184" y="119165"/>
                    <a:pt x="898253" y="80232"/>
                  </a:cubicBezTo>
                  <a:cubicBezTo>
                    <a:pt x="921268" y="30759"/>
                    <a:pt x="969235" y="0"/>
                    <a:pt x="1023870" y="0"/>
                  </a:cubicBezTo>
                  <a:cubicBezTo>
                    <a:pt x="1078505" y="0"/>
                    <a:pt x="1126472" y="30759"/>
                    <a:pt x="1149488" y="80232"/>
                  </a:cubicBezTo>
                  <a:cubicBezTo>
                    <a:pt x="1167556" y="119165"/>
                    <a:pt x="1205414" y="143471"/>
                    <a:pt x="1248433" y="143471"/>
                  </a:cubicBezTo>
                  <a:cubicBezTo>
                    <a:pt x="1291453" y="143471"/>
                    <a:pt x="1329311" y="119165"/>
                    <a:pt x="1347379" y="80232"/>
                  </a:cubicBezTo>
                  <a:cubicBezTo>
                    <a:pt x="1370394" y="30759"/>
                    <a:pt x="1418361" y="0"/>
                    <a:pt x="1472997" y="0"/>
                  </a:cubicBezTo>
                  <a:cubicBezTo>
                    <a:pt x="1527632" y="0"/>
                    <a:pt x="1575814" y="30759"/>
                    <a:pt x="1598614" y="80232"/>
                  </a:cubicBezTo>
                  <a:lnTo>
                    <a:pt x="1571942" y="92708"/>
                  </a:lnTo>
                  <a:cubicBezTo>
                    <a:pt x="1553874" y="53775"/>
                    <a:pt x="1515801" y="29469"/>
                    <a:pt x="1472997" y="29469"/>
                  </a:cubicBezTo>
                  <a:cubicBezTo>
                    <a:pt x="1429977" y="29469"/>
                    <a:pt x="1392119" y="53775"/>
                    <a:pt x="1374051" y="92708"/>
                  </a:cubicBezTo>
                  <a:cubicBezTo>
                    <a:pt x="1351251" y="142180"/>
                    <a:pt x="1303069" y="172939"/>
                    <a:pt x="1248648" y="172939"/>
                  </a:cubicBezTo>
                  <a:close/>
                </a:path>
              </a:pathLst>
            </a:custGeom>
            <a:grpFill/>
            <a:ln w="214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 name="Freeform: Shape 10">
              <a:extLst>
                <a:ext uri="{FF2B5EF4-FFF2-40B4-BE49-F238E27FC236}">
                  <a16:creationId xmlns:a16="http://schemas.microsoft.com/office/drawing/2014/main" id="{34CE57ED-0E56-4B8D-BFC4-44C434AB2F54}"/>
                </a:ext>
              </a:extLst>
            </p:cNvPr>
            <p:cNvSpPr/>
            <p:nvPr/>
          </p:nvSpPr>
          <p:spPr>
            <a:xfrm>
              <a:off x="2504802" y="1755501"/>
              <a:ext cx="1598829" cy="172724"/>
            </a:xfrm>
            <a:custGeom>
              <a:avLst/>
              <a:gdLst>
                <a:gd name="connsiteX0" fmla="*/ 1248648 w 1598829"/>
                <a:gd name="connsiteY0" fmla="*/ 172724 h 172724"/>
                <a:gd name="connsiteX1" fmla="*/ 1123031 w 1598829"/>
                <a:gd name="connsiteY1" fmla="*/ 92492 h 172724"/>
                <a:gd name="connsiteX2" fmla="*/ 1024085 w 1598829"/>
                <a:gd name="connsiteY2" fmla="*/ 29253 h 172724"/>
                <a:gd name="connsiteX3" fmla="*/ 925140 w 1598829"/>
                <a:gd name="connsiteY3" fmla="*/ 92492 h 172724"/>
                <a:gd name="connsiteX4" fmla="*/ 799522 w 1598829"/>
                <a:gd name="connsiteY4" fmla="*/ 172724 h 172724"/>
                <a:gd name="connsiteX5" fmla="*/ 799522 w 1598829"/>
                <a:gd name="connsiteY5" fmla="*/ 172724 h 172724"/>
                <a:gd name="connsiteX6" fmla="*/ 673905 w 1598829"/>
                <a:gd name="connsiteY6" fmla="*/ 92492 h 172724"/>
                <a:gd name="connsiteX7" fmla="*/ 574959 w 1598829"/>
                <a:gd name="connsiteY7" fmla="*/ 29253 h 172724"/>
                <a:gd name="connsiteX8" fmla="*/ 476014 w 1598829"/>
                <a:gd name="connsiteY8" fmla="*/ 92492 h 172724"/>
                <a:gd name="connsiteX9" fmla="*/ 350396 w 1598829"/>
                <a:gd name="connsiteY9" fmla="*/ 172724 h 172724"/>
                <a:gd name="connsiteX10" fmla="*/ 224778 w 1598829"/>
                <a:gd name="connsiteY10" fmla="*/ 92492 h 172724"/>
                <a:gd name="connsiteX11" fmla="*/ 125833 w 1598829"/>
                <a:gd name="connsiteY11" fmla="*/ 29253 h 172724"/>
                <a:gd name="connsiteX12" fmla="*/ 26887 w 1598829"/>
                <a:gd name="connsiteY12" fmla="*/ 92492 h 172724"/>
                <a:gd name="connsiteX13" fmla="*/ 0 w 1598829"/>
                <a:gd name="connsiteY13" fmla="*/ 80232 h 172724"/>
                <a:gd name="connsiteX14" fmla="*/ 125618 w 1598829"/>
                <a:gd name="connsiteY14" fmla="*/ 0 h 172724"/>
                <a:gd name="connsiteX15" fmla="*/ 251235 w 1598829"/>
                <a:gd name="connsiteY15" fmla="*/ 80232 h 172724"/>
                <a:gd name="connsiteX16" fmla="*/ 350181 w 1598829"/>
                <a:gd name="connsiteY16" fmla="*/ 143471 h 172724"/>
                <a:gd name="connsiteX17" fmla="*/ 449126 w 1598829"/>
                <a:gd name="connsiteY17" fmla="*/ 80232 h 172724"/>
                <a:gd name="connsiteX18" fmla="*/ 574744 w 1598829"/>
                <a:gd name="connsiteY18" fmla="*/ 0 h 172724"/>
                <a:gd name="connsiteX19" fmla="*/ 700362 w 1598829"/>
                <a:gd name="connsiteY19" fmla="*/ 80232 h 172724"/>
                <a:gd name="connsiteX20" fmla="*/ 799307 w 1598829"/>
                <a:gd name="connsiteY20" fmla="*/ 143471 h 172724"/>
                <a:gd name="connsiteX21" fmla="*/ 799307 w 1598829"/>
                <a:gd name="connsiteY21" fmla="*/ 143471 h 172724"/>
                <a:gd name="connsiteX22" fmla="*/ 898253 w 1598829"/>
                <a:gd name="connsiteY22" fmla="*/ 80232 h 172724"/>
                <a:gd name="connsiteX23" fmla="*/ 1024085 w 1598829"/>
                <a:gd name="connsiteY23" fmla="*/ 0 h 172724"/>
                <a:gd name="connsiteX24" fmla="*/ 1149703 w 1598829"/>
                <a:gd name="connsiteY24" fmla="*/ 80232 h 172724"/>
                <a:gd name="connsiteX25" fmla="*/ 1248648 w 1598829"/>
                <a:gd name="connsiteY25" fmla="*/ 143471 h 172724"/>
                <a:gd name="connsiteX26" fmla="*/ 1347594 w 1598829"/>
                <a:gd name="connsiteY26" fmla="*/ 80232 h 172724"/>
                <a:gd name="connsiteX27" fmla="*/ 1473212 w 1598829"/>
                <a:gd name="connsiteY27" fmla="*/ 0 h 172724"/>
                <a:gd name="connsiteX28" fmla="*/ 1598829 w 1598829"/>
                <a:gd name="connsiteY28" fmla="*/ 80232 h 172724"/>
                <a:gd name="connsiteX29" fmla="*/ 1572157 w 1598829"/>
                <a:gd name="connsiteY29" fmla="*/ 92492 h 172724"/>
                <a:gd name="connsiteX30" fmla="*/ 1473212 w 1598829"/>
                <a:gd name="connsiteY30" fmla="*/ 29253 h 172724"/>
                <a:gd name="connsiteX31" fmla="*/ 1374266 w 1598829"/>
                <a:gd name="connsiteY31" fmla="*/ 92492 h 172724"/>
                <a:gd name="connsiteX32" fmla="*/ 1248648 w 1598829"/>
                <a:gd name="connsiteY32" fmla="*/ 172724 h 17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98829" h="172724">
                  <a:moveTo>
                    <a:pt x="1248648" y="172724"/>
                  </a:moveTo>
                  <a:cubicBezTo>
                    <a:pt x="1194229" y="172724"/>
                    <a:pt x="1146046" y="141965"/>
                    <a:pt x="1123031" y="92492"/>
                  </a:cubicBezTo>
                  <a:cubicBezTo>
                    <a:pt x="1104962" y="53560"/>
                    <a:pt x="1067105" y="29253"/>
                    <a:pt x="1024085" y="29253"/>
                  </a:cubicBezTo>
                  <a:cubicBezTo>
                    <a:pt x="981066" y="29253"/>
                    <a:pt x="943208" y="53560"/>
                    <a:pt x="925140" y="92492"/>
                  </a:cubicBezTo>
                  <a:cubicBezTo>
                    <a:pt x="902124" y="141965"/>
                    <a:pt x="853942" y="172724"/>
                    <a:pt x="799522" y="172724"/>
                  </a:cubicBezTo>
                  <a:cubicBezTo>
                    <a:pt x="799522" y="172724"/>
                    <a:pt x="799522" y="172724"/>
                    <a:pt x="799522" y="172724"/>
                  </a:cubicBezTo>
                  <a:cubicBezTo>
                    <a:pt x="744887" y="172724"/>
                    <a:pt x="696920" y="141965"/>
                    <a:pt x="673905" y="92492"/>
                  </a:cubicBezTo>
                  <a:cubicBezTo>
                    <a:pt x="655836" y="53560"/>
                    <a:pt x="617979" y="29253"/>
                    <a:pt x="574959" y="29253"/>
                  </a:cubicBezTo>
                  <a:cubicBezTo>
                    <a:pt x="531939" y="29253"/>
                    <a:pt x="494082" y="53560"/>
                    <a:pt x="476014" y="92492"/>
                  </a:cubicBezTo>
                  <a:cubicBezTo>
                    <a:pt x="452998" y="141965"/>
                    <a:pt x="405031" y="172724"/>
                    <a:pt x="350396" y="172724"/>
                  </a:cubicBezTo>
                  <a:cubicBezTo>
                    <a:pt x="295976" y="172724"/>
                    <a:pt x="247794" y="141965"/>
                    <a:pt x="224778" y="92492"/>
                  </a:cubicBezTo>
                  <a:cubicBezTo>
                    <a:pt x="206710" y="53560"/>
                    <a:pt x="168853" y="29253"/>
                    <a:pt x="125833" y="29253"/>
                  </a:cubicBezTo>
                  <a:cubicBezTo>
                    <a:pt x="82813" y="29253"/>
                    <a:pt x="44956" y="53560"/>
                    <a:pt x="26887" y="92492"/>
                  </a:cubicBezTo>
                  <a:lnTo>
                    <a:pt x="0" y="80232"/>
                  </a:lnTo>
                  <a:cubicBezTo>
                    <a:pt x="23016" y="30759"/>
                    <a:pt x="70983" y="0"/>
                    <a:pt x="125618" y="0"/>
                  </a:cubicBezTo>
                  <a:cubicBezTo>
                    <a:pt x="180253" y="0"/>
                    <a:pt x="228220" y="30759"/>
                    <a:pt x="251235" y="80232"/>
                  </a:cubicBezTo>
                  <a:cubicBezTo>
                    <a:pt x="269304" y="119165"/>
                    <a:pt x="307376" y="143471"/>
                    <a:pt x="350181" y="143471"/>
                  </a:cubicBezTo>
                  <a:cubicBezTo>
                    <a:pt x="393201" y="143471"/>
                    <a:pt x="431058" y="119165"/>
                    <a:pt x="449126" y="80232"/>
                  </a:cubicBezTo>
                  <a:cubicBezTo>
                    <a:pt x="472142" y="30759"/>
                    <a:pt x="520324" y="0"/>
                    <a:pt x="574744" y="0"/>
                  </a:cubicBezTo>
                  <a:cubicBezTo>
                    <a:pt x="629164" y="0"/>
                    <a:pt x="677346" y="30759"/>
                    <a:pt x="700362" y="80232"/>
                  </a:cubicBezTo>
                  <a:cubicBezTo>
                    <a:pt x="718430" y="119165"/>
                    <a:pt x="756287" y="143471"/>
                    <a:pt x="799307" y="143471"/>
                  </a:cubicBezTo>
                  <a:lnTo>
                    <a:pt x="799307" y="143471"/>
                  </a:lnTo>
                  <a:cubicBezTo>
                    <a:pt x="842327" y="143471"/>
                    <a:pt x="880184" y="119165"/>
                    <a:pt x="898253" y="80232"/>
                  </a:cubicBezTo>
                  <a:cubicBezTo>
                    <a:pt x="921483" y="30759"/>
                    <a:pt x="969450" y="0"/>
                    <a:pt x="1024085" y="0"/>
                  </a:cubicBezTo>
                  <a:cubicBezTo>
                    <a:pt x="1078720" y="0"/>
                    <a:pt x="1126688" y="30759"/>
                    <a:pt x="1149703" y="80232"/>
                  </a:cubicBezTo>
                  <a:cubicBezTo>
                    <a:pt x="1167771" y="119165"/>
                    <a:pt x="1205629" y="143471"/>
                    <a:pt x="1248648" y="143471"/>
                  </a:cubicBezTo>
                  <a:cubicBezTo>
                    <a:pt x="1291668" y="143471"/>
                    <a:pt x="1329526" y="119165"/>
                    <a:pt x="1347594" y="80232"/>
                  </a:cubicBezTo>
                  <a:cubicBezTo>
                    <a:pt x="1370610" y="30759"/>
                    <a:pt x="1418792" y="0"/>
                    <a:pt x="1473212" y="0"/>
                  </a:cubicBezTo>
                  <a:cubicBezTo>
                    <a:pt x="1527847" y="0"/>
                    <a:pt x="1576029" y="30759"/>
                    <a:pt x="1598829" y="80232"/>
                  </a:cubicBezTo>
                  <a:lnTo>
                    <a:pt x="1572157" y="92492"/>
                  </a:lnTo>
                  <a:cubicBezTo>
                    <a:pt x="1554089" y="53560"/>
                    <a:pt x="1516016" y="29253"/>
                    <a:pt x="1473212" y="29253"/>
                  </a:cubicBezTo>
                  <a:cubicBezTo>
                    <a:pt x="1430192" y="29253"/>
                    <a:pt x="1392335" y="53560"/>
                    <a:pt x="1374266" y="92492"/>
                  </a:cubicBezTo>
                  <a:cubicBezTo>
                    <a:pt x="1351251" y="141965"/>
                    <a:pt x="1303069" y="172724"/>
                    <a:pt x="1248648" y="172724"/>
                  </a:cubicBezTo>
                  <a:close/>
                </a:path>
              </a:pathLst>
            </a:custGeom>
            <a:grpFill/>
            <a:ln w="2149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grpSp>
      <p:grpSp>
        <p:nvGrpSpPr>
          <p:cNvPr id="12" name="Group 11">
            <a:extLst>
              <a:ext uri="{FF2B5EF4-FFF2-40B4-BE49-F238E27FC236}">
                <a16:creationId xmlns:a16="http://schemas.microsoft.com/office/drawing/2014/main" id="{D6B131DC-4B42-4E21-8EE4-FCF7D6602B71}"/>
              </a:ext>
              <a:ext uri="{C183D7F6-B498-43B3-948B-1728B52AA6E4}">
                <adec:decorative xmlns:adec="http://schemas.microsoft.com/office/drawing/2017/decorative" val="1"/>
              </a:ext>
            </a:extLst>
          </p:cNvPr>
          <p:cNvGrpSpPr/>
          <p:nvPr userDrawn="1"/>
        </p:nvGrpSpPr>
        <p:grpSpPr>
          <a:xfrm>
            <a:off x="10885765" y="619275"/>
            <a:ext cx="932200" cy="932200"/>
            <a:chOff x="10791258" y="619275"/>
            <a:chExt cx="932200" cy="932200"/>
          </a:xfrm>
        </p:grpSpPr>
        <p:sp>
          <p:nvSpPr>
            <p:cNvPr id="13" name="Graphic 212">
              <a:extLst>
                <a:ext uri="{FF2B5EF4-FFF2-40B4-BE49-F238E27FC236}">
                  <a16:creationId xmlns:a16="http://schemas.microsoft.com/office/drawing/2014/main" id="{D826499E-185F-4853-8982-212973714079}"/>
                </a:ext>
              </a:extLst>
            </p:cNvPr>
            <p:cNvSpPr/>
            <p:nvPr/>
          </p:nvSpPr>
          <p:spPr>
            <a:xfrm>
              <a:off x="10791258" y="619275"/>
              <a:ext cx="932200" cy="932200"/>
            </a:xfrm>
            <a:custGeom>
              <a:avLst/>
              <a:gdLst>
                <a:gd name="connsiteX0" fmla="*/ 403574 w 807148"/>
                <a:gd name="connsiteY0" fmla="*/ 0 h 807148"/>
                <a:gd name="connsiteX1" fmla="*/ 0 w 807148"/>
                <a:gd name="connsiteY1" fmla="*/ 403574 h 807148"/>
                <a:gd name="connsiteX2" fmla="*/ 403574 w 807148"/>
                <a:gd name="connsiteY2" fmla="*/ 807149 h 807148"/>
                <a:gd name="connsiteX3" fmla="*/ 807149 w 807148"/>
                <a:gd name="connsiteY3" fmla="*/ 403574 h 807148"/>
                <a:gd name="connsiteX4" fmla="*/ 403574 w 807148"/>
                <a:gd name="connsiteY4" fmla="*/ 0 h 807148"/>
                <a:gd name="connsiteX5" fmla="*/ 403574 w 807148"/>
                <a:gd name="connsiteY5" fmla="*/ 667988 h 807148"/>
                <a:gd name="connsiteX6" fmla="*/ 139160 w 807148"/>
                <a:gd name="connsiteY6" fmla="*/ 403574 h 807148"/>
                <a:gd name="connsiteX7" fmla="*/ 403574 w 807148"/>
                <a:gd name="connsiteY7" fmla="*/ 139160 h 807148"/>
                <a:gd name="connsiteX8" fmla="*/ 667988 w 807148"/>
                <a:gd name="connsiteY8" fmla="*/ 403574 h 807148"/>
                <a:gd name="connsiteX9" fmla="*/ 403574 w 807148"/>
                <a:gd name="connsiteY9" fmla="*/ 667988 h 80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148" h="807148">
                  <a:moveTo>
                    <a:pt x="403574" y="0"/>
                  </a:moveTo>
                  <a:cubicBezTo>
                    <a:pt x="180689" y="0"/>
                    <a:pt x="0" y="180689"/>
                    <a:pt x="0" y="403574"/>
                  </a:cubicBezTo>
                  <a:cubicBezTo>
                    <a:pt x="0" y="626459"/>
                    <a:pt x="180689" y="807149"/>
                    <a:pt x="403574" y="807149"/>
                  </a:cubicBezTo>
                  <a:cubicBezTo>
                    <a:pt x="626459" y="807149"/>
                    <a:pt x="807149" y="626459"/>
                    <a:pt x="807149" y="403574"/>
                  </a:cubicBezTo>
                  <a:cubicBezTo>
                    <a:pt x="807149" y="180689"/>
                    <a:pt x="626459" y="0"/>
                    <a:pt x="403574" y="0"/>
                  </a:cubicBezTo>
                  <a:close/>
                  <a:moveTo>
                    <a:pt x="403574" y="667988"/>
                  </a:moveTo>
                  <a:cubicBezTo>
                    <a:pt x="257556" y="667988"/>
                    <a:pt x="139160" y="549593"/>
                    <a:pt x="139160" y="403574"/>
                  </a:cubicBezTo>
                  <a:cubicBezTo>
                    <a:pt x="139160" y="257556"/>
                    <a:pt x="257556" y="139160"/>
                    <a:pt x="403574" y="139160"/>
                  </a:cubicBezTo>
                  <a:cubicBezTo>
                    <a:pt x="549593" y="139160"/>
                    <a:pt x="667988" y="257556"/>
                    <a:pt x="667988" y="403574"/>
                  </a:cubicBezTo>
                  <a:cubicBezTo>
                    <a:pt x="667988" y="549593"/>
                    <a:pt x="549593" y="667988"/>
                    <a:pt x="403574" y="667988"/>
                  </a:cubicBezTo>
                  <a:close/>
                </a:path>
              </a:pathLst>
            </a:cu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4" name="Graphic 212">
              <a:extLst>
                <a:ext uri="{FF2B5EF4-FFF2-40B4-BE49-F238E27FC236}">
                  <a16:creationId xmlns:a16="http://schemas.microsoft.com/office/drawing/2014/main" id="{4B93A407-DCC0-4287-A189-DAFDA6CE5D81}"/>
                </a:ext>
              </a:extLst>
            </p:cNvPr>
            <p:cNvSpPr/>
            <p:nvPr/>
          </p:nvSpPr>
          <p:spPr>
            <a:xfrm>
              <a:off x="10791258" y="619275"/>
              <a:ext cx="932200" cy="932200"/>
            </a:xfrm>
            <a:custGeom>
              <a:avLst/>
              <a:gdLst>
                <a:gd name="connsiteX0" fmla="*/ 403574 w 807148"/>
                <a:gd name="connsiteY0" fmla="*/ 0 h 807148"/>
                <a:gd name="connsiteX1" fmla="*/ 0 w 807148"/>
                <a:gd name="connsiteY1" fmla="*/ 403574 h 807148"/>
                <a:gd name="connsiteX2" fmla="*/ 403574 w 807148"/>
                <a:gd name="connsiteY2" fmla="*/ 807149 h 807148"/>
                <a:gd name="connsiteX3" fmla="*/ 807149 w 807148"/>
                <a:gd name="connsiteY3" fmla="*/ 403574 h 807148"/>
                <a:gd name="connsiteX4" fmla="*/ 403574 w 807148"/>
                <a:gd name="connsiteY4" fmla="*/ 0 h 807148"/>
                <a:gd name="connsiteX5" fmla="*/ 403574 w 807148"/>
                <a:gd name="connsiteY5" fmla="*/ 667988 h 807148"/>
                <a:gd name="connsiteX6" fmla="*/ 139160 w 807148"/>
                <a:gd name="connsiteY6" fmla="*/ 403574 h 807148"/>
                <a:gd name="connsiteX7" fmla="*/ 403574 w 807148"/>
                <a:gd name="connsiteY7" fmla="*/ 139160 h 807148"/>
                <a:gd name="connsiteX8" fmla="*/ 667988 w 807148"/>
                <a:gd name="connsiteY8" fmla="*/ 403574 h 807148"/>
                <a:gd name="connsiteX9" fmla="*/ 403574 w 807148"/>
                <a:gd name="connsiteY9" fmla="*/ 667988 h 80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148" h="807148">
                  <a:moveTo>
                    <a:pt x="403574" y="0"/>
                  </a:moveTo>
                  <a:cubicBezTo>
                    <a:pt x="180689" y="0"/>
                    <a:pt x="0" y="180689"/>
                    <a:pt x="0" y="403574"/>
                  </a:cubicBezTo>
                  <a:cubicBezTo>
                    <a:pt x="0" y="626459"/>
                    <a:pt x="180689" y="807149"/>
                    <a:pt x="403574" y="807149"/>
                  </a:cubicBezTo>
                  <a:cubicBezTo>
                    <a:pt x="626459" y="807149"/>
                    <a:pt x="807149" y="626459"/>
                    <a:pt x="807149" y="403574"/>
                  </a:cubicBezTo>
                  <a:cubicBezTo>
                    <a:pt x="807149" y="180689"/>
                    <a:pt x="626459" y="0"/>
                    <a:pt x="403574" y="0"/>
                  </a:cubicBezTo>
                  <a:close/>
                  <a:moveTo>
                    <a:pt x="403574" y="667988"/>
                  </a:moveTo>
                  <a:cubicBezTo>
                    <a:pt x="257556" y="667988"/>
                    <a:pt x="139160" y="549593"/>
                    <a:pt x="139160" y="403574"/>
                  </a:cubicBezTo>
                  <a:cubicBezTo>
                    <a:pt x="139160" y="257556"/>
                    <a:pt x="257556" y="139160"/>
                    <a:pt x="403574" y="139160"/>
                  </a:cubicBezTo>
                  <a:cubicBezTo>
                    <a:pt x="549593" y="139160"/>
                    <a:pt x="667988" y="257556"/>
                    <a:pt x="667988" y="403574"/>
                  </a:cubicBezTo>
                  <a:cubicBezTo>
                    <a:pt x="667988" y="549593"/>
                    <a:pt x="549593" y="667988"/>
                    <a:pt x="403574" y="667988"/>
                  </a:cubicBezTo>
                  <a:close/>
                </a:path>
              </a:pathLst>
            </a:custGeom>
            <a:solidFill>
              <a:schemeClr val="accent3">
                <a:alpha val="2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grpSp>
      <p:grpSp>
        <p:nvGrpSpPr>
          <p:cNvPr id="15" name="Group 14">
            <a:extLst>
              <a:ext uri="{FF2B5EF4-FFF2-40B4-BE49-F238E27FC236}">
                <a16:creationId xmlns:a16="http://schemas.microsoft.com/office/drawing/2014/main" id="{3B628FE6-4C4F-49A8-9B42-67396AB1B101}"/>
              </a:ext>
              <a:ext uri="{C183D7F6-B498-43B3-948B-1728B52AA6E4}">
                <adec:decorative xmlns:adec="http://schemas.microsoft.com/office/drawing/2017/decorative" val="1"/>
              </a:ext>
            </a:extLst>
          </p:cNvPr>
          <p:cNvGrpSpPr/>
          <p:nvPr userDrawn="1"/>
        </p:nvGrpSpPr>
        <p:grpSpPr>
          <a:xfrm>
            <a:off x="10631201" y="4961088"/>
            <a:ext cx="1152011" cy="1152022"/>
            <a:chOff x="10154386" y="4452483"/>
            <a:chExt cx="1443404" cy="1443418"/>
          </a:xfrm>
          <a:solidFill>
            <a:schemeClr val="tx1"/>
          </a:solidFill>
        </p:grpSpPr>
        <p:grpSp>
          <p:nvGrpSpPr>
            <p:cNvPr id="16" name="Graphic 4">
              <a:extLst>
                <a:ext uri="{FF2B5EF4-FFF2-40B4-BE49-F238E27FC236}">
                  <a16:creationId xmlns:a16="http://schemas.microsoft.com/office/drawing/2014/main" id="{31A752B8-0B61-4973-8AE2-32B13026F5D0}"/>
                </a:ext>
              </a:extLst>
            </p:cNvPr>
            <p:cNvGrpSpPr/>
            <p:nvPr/>
          </p:nvGrpSpPr>
          <p:grpSpPr>
            <a:xfrm>
              <a:off x="10154386" y="4452483"/>
              <a:ext cx="1443404" cy="1443418"/>
              <a:chOff x="5734037" y="3067039"/>
              <a:chExt cx="724483" cy="724489"/>
            </a:xfrm>
            <a:grpFill/>
          </p:grpSpPr>
          <p:sp>
            <p:nvSpPr>
              <p:cNvPr id="189" name="Freeform: Shape 188">
                <a:extLst>
                  <a:ext uri="{FF2B5EF4-FFF2-40B4-BE49-F238E27FC236}">
                    <a16:creationId xmlns:a16="http://schemas.microsoft.com/office/drawing/2014/main" id="{5B0C923D-2B15-4591-91AF-7076EB2D39DF}"/>
                  </a:ext>
                </a:extLst>
              </p:cNvPr>
              <p:cNvSpPr/>
              <p:nvPr/>
            </p:nvSpPr>
            <p:spPr>
              <a:xfrm>
                <a:off x="5734038" y="3067039"/>
                <a:ext cx="14192" cy="14097"/>
              </a:xfrm>
              <a:custGeom>
                <a:avLst/>
                <a:gdLst>
                  <a:gd name="connsiteX0" fmla="*/ 14192 w 14192"/>
                  <a:gd name="connsiteY0" fmla="*/ 7049 h 14097"/>
                  <a:gd name="connsiteX1" fmla="*/ 7144 w 14192"/>
                  <a:gd name="connsiteY1" fmla="*/ 14097 h 14097"/>
                  <a:gd name="connsiteX2" fmla="*/ 0 w 14192"/>
                  <a:gd name="connsiteY2" fmla="*/ 7049 h 14097"/>
                  <a:gd name="connsiteX3" fmla="*/ 7049 w 14192"/>
                  <a:gd name="connsiteY3" fmla="*/ 0 h 14097"/>
                  <a:gd name="connsiteX4" fmla="*/ 14192 w 14192"/>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7">
                    <a:moveTo>
                      <a:pt x="14192" y="7049"/>
                    </a:moveTo>
                    <a:cubicBezTo>
                      <a:pt x="14192" y="10954"/>
                      <a:pt x="11049" y="14097"/>
                      <a:pt x="7144" y="14097"/>
                    </a:cubicBezTo>
                    <a:cubicBezTo>
                      <a:pt x="3239" y="14097"/>
                      <a:pt x="0" y="10954"/>
                      <a:pt x="0" y="7049"/>
                    </a:cubicBezTo>
                    <a:cubicBezTo>
                      <a:pt x="0" y="3143"/>
                      <a:pt x="3143" y="0"/>
                      <a:pt x="7049" y="0"/>
                    </a:cubicBezTo>
                    <a:cubicBezTo>
                      <a:pt x="10954" y="0"/>
                      <a:pt x="14192" y="3143"/>
                      <a:pt x="14192"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0" name="Freeform: Shape 189">
                <a:extLst>
                  <a:ext uri="{FF2B5EF4-FFF2-40B4-BE49-F238E27FC236}">
                    <a16:creationId xmlns:a16="http://schemas.microsoft.com/office/drawing/2014/main" id="{F67576B0-A9FB-4DBF-AAB2-BC4FE937A4D4}"/>
                  </a:ext>
                </a:extLst>
              </p:cNvPr>
              <p:cNvSpPr/>
              <p:nvPr/>
            </p:nvSpPr>
            <p:spPr>
              <a:xfrm>
                <a:off x="5793283" y="3067039"/>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1" name="Freeform: Shape 190">
                <a:extLst>
                  <a:ext uri="{FF2B5EF4-FFF2-40B4-BE49-F238E27FC236}">
                    <a16:creationId xmlns:a16="http://schemas.microsoft.com/office/drawing/2014/main" id="{78EDA74C-F639-4A1A-AF63-97CE1722791F}"/>
                  </a:ext>
                </a:extLst>
              </p:cNvPr>
              <p:cNvSpPr/>
              <p:nvPr/>
            </p:nvSpPr>
            <p:spPr>
              <a:xfrm>
                <a:off x="5852433"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2" name="Freeform: Shape 191">
                <a:extLst>
                  <a:ext uri="{FF2B5EF4-FFF2-40B4-BE49-F238E27FC236}">
                    <a16:creationId xmlns:a16="http://schemas.microsoft.com/office/drawing/2014/main" id="{47349CA4-9AF7-4B7C-B97D-32FCC9A753C0}"/>
                  </a:ext>
                </a:extLst>
              </p:cNvPr>
              <p:cNvSpPr/>
              <p:nvPr/>
            </p:nvSpPr>
            <p:spPr>
              <a:xfrm>
                <a:off x="5911678"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3" name="Freeform: Shape 192">
                <a:extLst>
                  <a:ext uri="{FF2B5EF4-FFF2-40B4-BE49-F238E27FC236}">
                    <a16:creationId xmlns:a16="http://schemas.microsoft.com/office/drawing/2014/main" id="{DBBF3B76-9FD5-449B-9E6D-B2AE17BCC28F}"/>
                  </a:ext>
                </a:extLst>
              </p:cNvPr>
              <p:cNvSpPr/>
              <p:nvPr/>
            </p:nvSpPr>
            <p:spPr>
              <a:xfrm>
                <a:off x="5970828"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4" name="Freeform: Shape 193">
                <a:extLst>
                  <a:ext uri="{FF2B5EF4-FFF2-40B4-BE49-F238E27FC236}">
                    <a16:creationId xmlns:a16="http://schemas.microsoft.com/office/drawing/2014/main" id="{E83A7097-449B-446C-9207-5C00FAB2EE58}"/>
                  </a:ext>
                </a:extLst>
              </p:cNvPr>
              <p:cNvSpPr/>
              <p:nvPr/>
            </p:nvSpPr>
            <p:spPr>
              <a:xfrm>
                <a:off x="6030074" y="3067039"/>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5" name="Freeform: Shape 194">
                <a:extLst>
                  <a:ext uri="{FF2B5EF4-FFF2-40B4-BE49-F238E27FC236}">
                    <a16:creationId xmlns:a16="http://schemas.microsoft.com/office/drawing/2014/main" id="{E8BCF978-C1B0-4C0E-885B-67F829DF35F5}"/>
                  </a:ext>
                </a:extLst>
              </p:cNvPr>
              <p:cNvSpPr/>
              <p:nvPr/>
            </p:nvSpPr>
            <p:spPr>
              <a:xfrm>
                <a:off x="6089224"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6" name="Freeform: Shape 195">
                <a:extLst>
                  <a:ext uri="{FF2B5EF4-FFF2-40B4-BE49-F238E27FC236}">
                    <a16:creationId xmlns:a16="http://schemas.microsoft.com/office/drawing/2014/main" id="{5F8A090D-EE01-4AE0-9B9D-A052A136192E}"/>
                  </a:ext>
                </a:extLst>
              </p:cNvPr>
              <p:cNvSpPr/>
              <p:nvPr/>
            </p:nvSpPr>
            <p:spPr>
              <a:xfrm>
                <a:off x="5734038" y="3126284"/>
                <a:ext cx="14192" cy="14097"/>
              </a:xfrm>
              <a:custGeom>
                <a:avLst/>
                <a:gdLst>
                  <a:gd name="connsiteX0" fmla="*/ 14192 w 14192"/>
                  <a:gd name="connsiteY0" fmla="*/ 7049 h 14097"/>
                  <a:gd name="connsiteX1" fmla="*/ 7144 w 14192"/>
                  <a:gd name="connsiteY1" fmla="*/ 14097 h 14097"/>
                  <a:gd name="connsiteX2" fmla="*/ 0 w 14192"/>
                  <a:gd name="connsiteY2" fmla="*/ 7049 h 14097"/>
                  <a:gd name="connsiteX3" fmla="*/ 7049 w 14192"/>
                  <a:gd name="connsiteY3" fmla="*/ 0 h 14097"/>
                  <a:gd name="connsiteX4" fmla="*/ 14192 w 14192"/>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7">
                    <a:moveTo>
                      <a:pt x="14192" y="7049"/>
                    </a:moveTo>
                    <a:cubicBezTo>
                      <a:pt x="14192" y="10954"/>
                      <a:pt x="11049" y="14097"/>
                      <a:pt x="7144" y="14097"/>
                    </a:cubicBezTo>
                    <a:cubicBezTo>
                      <a:pt x="3239" y="14097"/>
                      <a:pt x="0" y="10954"/>
                      <a:pt x="0" y="7049"/>
                    </a:cubicBezTo>
                    <a:cubicBezTo>
                      <a:pt x="0" y="3143"/>
                      <a:pt x="3143" y="0"/>
                      <a:pt x="7049" y="0"/>
                    </a:cubicBezTo>
                    <a:cubicBezTo>
                      <a:pt x="10954" y="0"/>
                      <a:pt x="14192" y="3143"/>
                      <a:pt x="14192"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7" name="Freeform: Shape 196">
                <a:extLst>
                  <a:ext uri="{FF2B5EF4-FFF2-40B4-BE49-F238E27FC236}">
                    <a16:creationId xmlns:a16="http://schemas.microsoft.com/office/drawing/2014/main" id="{F4973935-CD40-43B9-85EE-A0891CDFDFB7}"/>
                  </a:ext>
                </a:extLst>
              </p:cNvPr>
              <p:cNvSpPr/>
              <p:nvPr/>
            </p:nvSpPr>
            <p:spPr>
              <a:xfrm>
                <a:off x="5793283" y="3126282"/>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8" name="Freeform: Shape 197">
                <a:extLst>
                  <a:ext uri="{FF2B5EF4-FFF2-40B4-BE49-F238E27FC236}">
                    <a16:creationId xmlns:a16="http://schemas.microsoft.com/office/drawing/2014/main" id="{09BF59A1-43BA-4CAA-B07E-0753B83A0711}"/>
                  </a:ext>
                </a:extLst>
              </p:cNvPr>
              <p:cNvSpPr/>
              <p:nvPr/>
            </p:nvSpPr>
            <p:spPr>
              <a:xfrm>
                <a:off x="5852433"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9" name="Freeform: Shape 198">
                <a:extLst>
                  <a:ext uri="{FF2B5EF4-FFF2-40B4-BE49-F238E27FC236}">
                    <a16:creationId xmlns:a16="http://schemas.microsoft.com/office/drawing/2014/main" id="{F7F71212-DEF7-4416-8DD0-706B9D618165}"/>
                  </a:ext>
                </a:extLst>
              </p:cNvPr>
              <p:cNvSpPr/>
              <p:nvPr/>
            </p:nvSpPr>
            <p:spPr>
              <a:xfrm>
                <a:off x="5911678"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0" name="Freeform: Shape 199">
                <a:extLst>
                  <a:ext uri="{FF2B5EF4-FFF2-40B4-BE49-F238E27FC236}">
                    <a16:creationId xmlns:a16="http://schemas.microsoft.com/office/drawing/2014/main" id="{61491CF5-2443-474B-83A8-EED5E8ABCCEB}"/>
                  </a:ext>
                </a:extLst>
              </p:cNvPr>
              <p:cNvSpPr/>
              <p:nvPr/>
            </p:nvSpPr>
            <p:spPr>
              <a:xfrm>
                <a:off x="5970828"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1" name="Freeform: Shape 200">
                <a:extLst>
                  <a:ext uri="{FF2B5EF4-FFF2-40B4-BE49-F238E27FC236}">
                    <a16:creationId xmlns:a16="http://schemas.microsoft.com/office/drawing/2014/main" id="{7A1D052A-A011-4CC1-9757-2742CF613DDE}"/>
                  </a:ext>
                </a:extLst>
              </p:cNvPr>
              <p:cNvSpPr/>
              <p:nvPr/>
            </p:nvSpPr>
            <p:spPr>
              <a:xfrm>
                <a:off x="6030073" y="3126284"/>
                <a:ext cx="14097" cy="14097"/>
              </a:xfrm>
              <a:custGeom>
                <a:avLst/>
                <a:gdLst>
                  <a:gd name="connsiteX0" fmla="*/ 14097 w 14097"/>
                  <a:gd name="connsiteY0" fmla="*/ 7049 h 14097"/>
                  <a:gd name="connsiteX1" fmla="*/ 7048 w 14097"/>
                  <a:gd name="connsiteY1" fmla="*/ 14097 h 14097"/>
                  <a:gd name="connsiteX2" fmla="*/ 0 w 14097"/>
                  <a:gd name="connsiteY2" fmla="*/ 7049 h 14097"/>
                  <a:gd name="connsiteX3" fmla="*/ 7048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2" name="Freeform: Shape 201">
                <a:extLst>
                  <a:ext uri="{FF2B5EF4-FFF2-40B4-BE49-F238E27FC236}">
                    <a16:creationId xmlns:a16="http://schemas.microsoft.com/office/drawing/2014/main" id="{15DD3330-9838-49F4-9837-D557F3577937}"/>
                  </a:ext>
                </a:extLst>
              </p:cNvPr>
              <p:cNvSpPr/>
              <p:nvPr/>
            </p:nvSpPr>
            <p:spPr>
              <a:xfrm>
                <a:off x="6089224"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3" name="Freeform: Shape 202">
                <a:extLst>
                  <a:ext uri="{FF2B5EF4-FFF2-40B4-BE49-F238E27FC236}">
                    <a16:creationId xmlns:a16="http://schemas.microsoft.com/office/drawing/2014/main" id="{085E7E4A-1EBD-4D0A-89D3-0E91CE94BB34}"/>
                  </a:ext>
                </a:extLst>
              </p:cNvPr>
              <p:cNvSpPr/>
              <p:nvPr/>
            </p:nvSpPr>
            <p:spPr>
              <a:xfrm>
                <a:off x="5734038" y="3185434"/>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4" name="Freeform: Shape 203">
                <a:extLst>
                  <a:ext uri="{FF2B5EF4-FFF2-40B4-BE49-F238E27FC236}">
                    <a16:creationId xmlns:a16="http://schemas.microsoft.com/office/drawing/2014/main" id="{98509262-3560-484E-B2A3-65F83E2AFF4B}"/>
                  </a:ext>
                </a:extLst>
              </p:cNvPr>
              <p:cNvSpPr/>
              <p:nvPr/>
            </p:nvSpPr>
            <p:spPr>
              <a:xfrm>
                <a:off x="5793283" y="318543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5" name="Freeform: Shape 204">
                <a:extLst>
                  <a:ext uri="{FF2B5EF4-FFF2-40B4-BE49-F238E27FC236}">
                    <a16:creationId xmlns:a16="http://schemas.microsoft.com/office/drawing/2014/main" id="{82C01EF0-EFE1-4857-9C0F-983EF16648B2}"/>
                  </a:ext>
                </a:extLst>
              </p:cNvPr>
              <p:cNvSpPr/>
              <p:nvPr/>
            </p:nvSpPr>
            <p:spPr>
              <a:xfrm>
                <a:off x="5852433"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6" name="Freeform: Shape 205">
                <a:extLst>
                  <a:ext uri="{FF2B5EF4-FFF2-40B4-BE49-F238E27FC236}">
                    <a16:creationId xmlns:a16="http://schemas.microsoft.com/office/drawing/2014/main" id="{B35C6DB3-278C-4B06-AEE3-44D85C12E1AE}"/>
                  </a:ext>
                </a:extLst>
              </p:cNvPr>
              <p:cNvSpPr/>
              <p:nvPr/>
            </p:nvSpPr>
            <p:spPr>
              <a:xfrm>
                <a:off x="5911678"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7" name="Freeform: Shape 206">
                <a:extLst>
                  <a:ext uri="{FF2B5EF4-FFF2-40B4-BE49-F238E27FC236}">
                    <a16:creationId xmlns:a16="http://schemas.microsoft.com/office/drawing/2014/main" id="{13D90D10-B54E-4E2F-B5C7-3F4F5AA85C5C}"/>
                  </a:ext>
                </a:extLst>
              </p:cNvPr>
              <p:cNvSpPr/>
              <p:nvPr/>
            </p:nvSpPr>
            <p:spPr>
              <a:xfrm>
                <a:off x="5970828"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8" name="Freeform: Shape 207">
                <a:extLst>
                  <a:ext uri="{FF2B5EF4-FFF2-40B4-BE49-F238E27FC236}">
                    <a16:creationId xmlns:a16="http://schemas.microsoft.com/office/drawing/2014/main" id="{BCF88EFC-8669-4711-B4D8-18F82A715203}"/>
                  </a:ext>
                </a:extLst>
              </p:cNvPr>
              <p:cNvSpPr/>
              <p:nvPr/>
            </p:nvSpPr>
            <p:spPr>
              <a:xfrm>
                <a:off x="6030074" y="318543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9" name="Freeform: Shape 208">
                <a:extLst>
                  <a:ext uri="{FF2B5EF4-FFF2-40B4-BE49-F238E27FC236}">
                    <a16:creationId xmlns:a16="http://schemas.microsoft.com/office/drawing/2014/main" id="{1C7E26B7-A2C7-4069-94EE-F81FBFCC4F88}"/>
                  </a:ext>
                </a:extLst>
              </p:cNvPr>
              <p:cNvSpPr/>
              <p:nvPr/>
            </p:nvSpPr>
            <p:spPr>
              <a:xfrm>
                <a:off x="6089224"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0" name="Freeform: Shape 209">
                <a:extLst>
                  <a:ext uri="{FF2B5EF4-FFF2-40B4-BE49-F238E27FC236}">
                    <a16:creationId xmlns:a16="http://schemas.microsoft.com/office/drawing/2014/main" id="{45992884-B014-448F-B303-A6346A877A4E}"/>
                  </a:ext>
                </a:extLst>
              </p:cNvPr>
              <p:cNvSpPr/>
              <p:nvPr/>
            </p:nvSpPr>
            <p:spPr>
              <a:xfrm>
                <a:off x="5734038" y="3244679"/>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1" name="Freeform: Shape 210">
                <a:extLst>
                  <a:ext uri="{FF2B5EF4-FFF2-40B4-BE49-F238E27FC236}">
                    <a16:creationId xmlns:a16="http://schemas.microsoft.com/office/drawing/2014/main" id="{CE046B60-49AE-4A06-93E1-022974B3A738}"/>
                  </a:ext>
                </a:extLst>
              </p:cNvPr>
              <p:cNvSpPr/>
              <p:nvPr/>
            </p:nvSpPr>
            <p:spPr>
              <a:xfrm>
                <a:off x="5793283" y="3244677"/>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2" name="Freeform: Shape 211">
                <a:extLst>
                  <a:ext uri="{FF2B5EF4-FFF2-40B4-BE49-F238E27FC236}">
                    <a16:creationId xmlns:a16="http://schemas.microsoft.com/office/drawing/2014/main" id="{48BEAE27-271C-428D-B5EF-F87F7359F6F0}"/>
                  </a:ext>
                </a:extLst>
              </p:cNvPr>
              <p:cNvSpPr/>
              <p:nvPr/>
            </p:nvSpPr>
            <p:spPr>
              <a:xfrm>
                <a:off x="5852433"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3" name="Freeform: Shape 212">
                <a:extLst>
                  <a:ext uri="{FF2B5EF4-FFF2-40B4-BE49-F238E27FC236}">
                    <a16:creationId xmlns:a16="http://schemas.microsoft.com/office/drawing/2014/main" id="{A5A27244-274D-4D7E-A8D4-73F2256E8BA1}"/>
                  </a:ext>
                </a:extLst>
              </p:cNvPr>
              <p:cNvSpPr/>
              <p:nvPr/>
            </p:nvSpPr>
            <p:spPr>
              <a:xfrm>
                <a:off x="5911678"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4" name="Freeform: Shape 213">
                <a:extLst>
                  <a:ext uri="{FF2B5EF4-FFF2-40B4-BE49-F238E27FC236}">
                    <a16:creationId xmlns:a16="http://schemas.microsoft.com/office/drawing/2014/main" id="{15FC6F33-B59A-4CCB-A310-45A01574AAD8}"/>
                  </a:ext>
                </a:extLst>
              </p:cNvPr>
              <p:cNvSpPr/>
              <p:nvPr/>
            </p:nvSpPr>
            <p:spPr>
              <a:xfrm>
                <a:off x="5970828"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5" name="Freeform: Shape 214">
                <a:extLst>
                  <a:ext uri="{FF2B5EF4-FFF2-40B4-BE49-F238E27FC236}">
                    <a16:creationId xmlns:a16="http://schemas.microsoft.com/office/drawing/2014/main" id="{58C7C55E-C35B-401E-9068-C22F2EE68C87}"/>
                  </a:ext>
                </a:extLst>
              </p:cNvPr>
              <p:cNvSpPr/>
              <p:nvPr/>
            </p:nvSpPr>
            <p:spPr>
              <a:xfrm>
                <a:off x="6030073" y="3244679"/>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6" name="Freeform: Shape 215">
                <a:extLst>
                  <a:ext uri="{FF2B5EF4-FFF2-40B4-BE49-F238E27FC236}">
                    <a16:creationId xmlns:a16="http://schemas.microsoft.com/office/drawing/2014/main" id="{4B71E863-1694-4370-85E9-A4DC7C544C30}"/>
                  </a:ext>
                </a:extLst>
              </p:cNvPr>
              <p:cNvSpPr/>
              <p:nvPr/>
            </p:nvSpPr>
            <p:spPr>
              <a:xfrm>
                <a:off x="6089224"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7" name="Freeform: Shape 216">
                <a:extLst>
                  <a:ext uri="{FF2B5EF4-FFF2-40B4-BE49-F238E27FC236}">
                    <a16:creationId xmlns:a16="http://schemas.microsoft.com/office/drawing/2014/main" id="{B6F72D1A-6378-49EA-83B7-3EF500030604}"/>
                  </a:ext>
                </a:extLst>
              </p:cNvPr>
              <p:cNvSpPr/>
              <p:nvPr/>
            </p:nvSpPr>
            <p:spPr>
              <a:xfrm>
                <a:off x="5734038" y="3303829"/>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8" name="Freeform: Shape 217">
                <a:extLst>
                  <a:ext uri="{FF2B5EF4-FFF2-40B4-BE49-F238E27FC236}">
                    <a16:creationId xmlns:a16="http://schemas.microsoft.com/office/drawing/2014/main" id="{7D8F79E4-2781-44A0-A4FB-9F34DDD998C9}"/>
                  </a:ext>
                </a:extLst>
              </p:cNvPr>
              <p:cNvSpPr/>
              <p:nvPr/>
            </p:nvSpPr>
            <p:spPr>
              <a:xfrm>
                <a:off x="5793283" y="3303829"/>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9" name="Freeform: Shape 218">
                <a:extLst>
                  <a:ext uri="{FF2B5EF4-FFF2-40B4-BE49-F238E27FC236}">
                    <a16:creationId xmlns:a16="http://schemas.microsoft.com/office/drawing/2014/main" id="{112401E9-7F6C-44FD-BFDB-6AB513E34F13}"/>
                  </a:ext>
                </a:extLst>
              </p:cNvPr>
              <p:cNvSpPr/>
              <p:nvPr/>
            </p:nvSpPr>
            <p:spPr>
              <a:xfrm>
                <a:off x="5852433"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0" name="Freeform: Shape 219">
                <a:extLst>
                  <a:ext uri="{FF2B5EF4-FFF2-40B4-BE49-F238E27FC236}">
                    <a16:creationId xmlns:a16="http://schemas.microsoft.com/office/drawing/2014/main" id="{70EF4569-106C-4743-8A96-58E8F8914E44}"/>
                  </a:ext>
                </a:extLst>
              </p:cNvPr>
              <p:cNvSpPr/>
              <p:nvPr/>
            </p:nvSpPr>
            <p:spPr>
              <a:xfrm>
                <a:off x="5911678"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1" name="Freeform: Shape 220">
                <a:extLst>
                  <a:ext uri="{FF2B5EF4-FFF2-40B4-BE49-F238E27FC236}">
                    <a16:creationId xmlns:a16="http://schemas.microsoft.com/office/drawing/2014/main" id="{A8672656-3AB6-45FA-9178-6EEA584AC60F}"/>
                  </a:ext>
                </a:extLst>
              </p:cNvPr>
              <p:cNvSpPr/>
              <p:nvPr/>
            </p:nvSpPr>
            <p:spPr>
              <a:xfrm>
                <a:off x="5970828"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2" name="Freeform: Shape 221">
                <a:extLst>
                  <a:ext uri="{FF2B5EF4-FFF2-40B4-BE49-F238E27FC236}">
                    <a16:creationId xmlns:a16="http://schemas.microsoft.com/office/drawing/2014/main" id="{3BE34346-DF8F-40ED-9960-375A6B408972}"/>
                  </a:ext>
                </a:extLst>
              </p:cNvPr>
              <p:cNvSpPr/>
              <p:nvPr/>
            </p:nvSpPr>
            <p:spPr>
              <a:xfrm>
                <a:off x="6030073" y="3303829"/>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3" name="Freeform: Shape 222">
                <a:extLst>
                  <a:ext uri="{FF2B5EF4-FFF2-40B4-BE49-F238E27FC236}">
                    <a16:creationId xmlns:a16="http://schemas.microsoft.com/office/drawing/2014/main" id="{D2F41219-5DFE-4991-8A7E-D81EC1C2B5EE}"/>
                  </a:ext>
                </a:extLst>
              </p:cNvPr>
              <p:cNvSpPr/>
              <p:nvPr/>
            </p:nvSpPr>
            <p:spPr>
              <a:xfrm>
                <a:off x="6089224"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4" name="Freeform: Shape 223">
                <a:extLst>
                  <a:ext uri="{FF2B5EF4-FFF2-40B4-BE49-F238E27FC236}">
                    <a16:creationId xmlns:a16="http://schemas.microsoft.com/office/drawing/2014/main" id="{631B6AB5-7C4A-4437-A6BF-C6A236896589}"/>
                  </a:ext>
                </a:extLst>
              </p:cNvPr>
              <p:cNvSpPr/>
              <p:nvPr/>
            </p:nvSpPr>
            <p:spPr>
              <a:xfrm>
                <a:off x="5734038" y="3363074"/>
                <a:ext cx="14192" cy="14097"/>
              </a:xfrm>
              <a:custGeom>
                <a:avLst/>
                <a:gdLst>
                  <a:gd name="connsiteX0" fmla="*/ 14192 w 14192"/>
                  <a:gd name="connsiteY0" fmla="*/ 7048 h 14097"/>
                  <a:gd name="connsiteX1" fmla="*/ 7144 w 14192"/>
                  <a:gd name="connsiteY1" fmla="*/ 14097 h 14097"/>
                  <a:gd name="connsiteX2" fmla="*/ 0 w 14192"/>
                  <a:gd name="connsiteY2" fmla="*/ 7048 h 14097"/>
                  <a:gd name="connsiteX3" fmla="*/ 7049 w 14192"/>
                  <a:gd name="connsiteY3" fmla="*/ 0 h 14097"/>
                  <a:gd name="connsiteX4" fmla="*/ 14192 w 14192"/>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7">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5" name="Freeform: Shape 224">
                <a:extLst>
                  <a:ext uri="{FF2B5EF4-FFF2-40B4-BE49-F238E27FC236}">
                    <a16:creationId xmlns:a16="http://schemas.microsoft.com/office/drawing/2014/main" id="{897203B5-EF0D-4F4C-A4B6-B5582F7D6A7E}"/>
                  </a:ext>
                </a:extLst>
              </p:cNvPr>
              <p:cNvSpPr/>
              <p:nvPr/>
            </p:nvSpPr>
            <p:spPr>
              <a:xfrm>
                <a:off x="5793283" y="3363072"/>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6" name="Freeform: Shape 225">
                <a:extLst>
                  <a:ext uri="{FF2B5EF4-FFF2-40B4-BE49-F238E27FC236}">
                    <a16:creationId xmlns:a16="http://schemas.microsoft.com/office/drawing/2014/main" id="{F7733105-9EB9-4EF2-8F40-6AD21A844C7D}"/>
                  </a:ext>
                </a:extLst>
              </p:cNvPr>
              <p:cNvSpPr/>
              <p:nvPr/>
            </p:nvSpPr>
            <p:spPr>
              <a:xfrm>
                <a:off x="5852433"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7" name="Freeform: Shape 226">
                <a:extLst>
                  <a:ext uri="{FF2B5EF4-FFF2-40B4-BE49-F238E27FC236}">
                    <a16:creationId xmlns:a16="http://schemas.microsoft.com/office/drawing/2014/main" id="{E63EBB4B-F5A7-4554-A0C3-AED6ACAE8C3F}"/>
                  </a:ext>
                </a:extLst>
              </p:cNvPr>
              <p:cNvSpPr/>
              <p:nvPr/>
            </p:nvSpPr>
            <p:spPr>
              <a:xfrm>
                <a:off x="5911678"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8" name="Freeform: Shape 227">
                <a:extLst>
                  <a:ext uri="{FF2B5EF4-FFF2-40B4-BE49-F238E27FC236}">
                    <a16:creationId xmlns:a16="http://schemas.microsoft.com/office/drawing/2014/main" id="{CCC74397-5624-4735-BE79-E16C6A12912A}"/>
                  </a:ext>
                </a:extLst>
              </p:cNvPr>
              <p:cNvSpPr/>
              <p:nvPr/>
            </p:nvSpPr>
            <p:spPr>
              <a:xfrm>
                <a:off x="5970828"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9" name="Freeform: Shape 228">
                <a:extLst>
                  <a:ext uri="{FF2B5EF4-FFF2-40B4-BE49-F238E27FC236}">
                    <a16:creationId xmlns:a16="http://schemas.microsoft.com/office/drawing/2014/main" id="{A9A30123-68A7-4CAF-ACA1-E089D30CE5F5}"/>
                  </a:ext>
                </a:extLst>
              </p:cNvPr>
              <p:cNvSpPr/>
              <p:nvPr/>
            </p:nvSpPr>
            <p:spPr>
              <a:xfrm>
                <a:off x="6030073" y="3363074"/>
                <a:ext cx="14097" cy="14097"/>
              </a:xfrm>
              <a:custGeom>
                <a:avLst/>
                <a:gdLst>
                  <a:gd name="connsiteX0" fmla="*/ 14097 w 14097"/>
                  <a:gd name="connsiteY0" fmla="*/ 7048 h 14097"/>
                  <a:gd name="connsiteX1" fmla="*/ 7048 w 14097"/>
                  <a:gd name="connsiteY1" fmla="*/ 14097 h 14097"/>
                  <a:gd name="connsiteX2" fmla="*/ 0 w 14097"/>
                  <a:gd name="connsiteY2" fmla="*/ 7048 h 14097"/>
                  <a:gd name="connsiteX3" fmla="*/ 7048 w 14097"/>
                  <a:gd name="connsiteY3" fmla="*/ 0 h 14097"/>
                  <a:gd name="connsiteX4" fmla="*/ 14097 w 14097"/>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0" name="Freeform: Shape 229">
                <a:extLst>
                  <a:ext uri="{FF2B5EF4-FFF2-40B4-BE49-F238E27FC236}">
                    <a16:creationId xmlns:a16="http://schemas.microsoft.com/office/drawing/2014/main" id="{341E089E-6C28-47B4-8F8D-DC7B2964BFDE}"/>
                  </a:ext>
                </a:extLst>
              </p:cNvPr>
              <p:cNvSpPr/>
              <p:nvPr/>
            </p:nvSpPr>
            <p:spPr>
              <a:xfrm>
                <a:off x="6089224"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1" name="Freeform: Shape 230">
                <a:extLst>
                  <a:ext uri="{FF2B5EF4-FFF2-40B4-BE49-F238E27FC236}">
                    <a16:creationId xmlns:a16="http://schemas.microsoft.com/office/drawing/2014/main" id="{60C3E376-3FA2-4F28-8E26-5126E54F2D37}"/>
                  </a:ext>
                </a:extLst>
              </p:cNvPr>
              <p:cNvSpPr/>
              <p:nvPr/>
            </p:nvSpPr>
            <p:spPr>
              <a:xfrm>
                <a:off x="5734038" y="3422225"/>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2" name="Freeform: Shape 231">
                <a:extLst>
                  <a:ext uri="{FF2B5EF4-FFF2-40B4-BE49-F238E27FC236}">
                    <a16:creationId xmlns:a16="http://schemas.microsoft.com/office/drawing/2014/main" id="{4452E443-8362-453F-8594-E2C5D05D3398}"/>
                  </a:ext>
                </a:extLst>
              </p:cNvPr>
              <p:cNvSpPr/>
              <p:nvPr/>
            </p:nvSpPr>
            <p:spPr>
              <a:xfrm>
                <a:off x="5793283" y="3422225"/>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3" name="Freeform: Shape 232">
                <a:extLst>
                  <a:ext uri="{FF2B5EF4-FFF2-40B4-BE49-F238E27FC236}">
                    <a16:creationId xmlns:a16="http://schemas.microsoft.com/office/drawing/2014/main" id="{C2043C4D-27CC-45D6-9A62-966A77DD5812}"/>
                  </a:ext>
                </a:extLst>
              </p:cNvPr>
              <p:cNvSpPr/>
              <p:nvPr/>
            </p:nvSpPr>
            <p:spPr>
              <a:xfrm>
                <a:off x="5852433"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4" name="Freeform: Shape 233">
                <a:extLst>
                  <a:ext uri="{FF2B5EF4-FFF2-40B4-BE49-F238E27FC236}">
                    <a16:creationId xmlns:a16="http://schemas.microsoft.com/office/drawing/2014/main" id="{F2D98196-D099-495E-A828-A073967D67FB}"/>
                  </a:ext>
                </a:extLst>
              </p:cNvPr>
              <p:cNvSpPr/>
              <p:nvPr/>
            </p:nvSpPr>
            <p:spPr>
              <a:xfrm>
                <a:off x="5911678"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5" name="Freeform: Shape 234">
                <a:extLst>
                  <a:ext uri="{FF2B5EF4-FFF2-40B4-BE49-F238E27FC236}">
                    <a16:creationId xmlns:a16="http://schemas.microsoft.com/office/drawing/2014/main" id="{68586E33-BCEF-4B0E-95AC-B1E8EA25C65D}"/>
                  </a:ext>
                </a:extLst>
              </p:cNvPr>
              <p:cNvSpPr/>
              <p:nvPr/>
            </p:nvSpPr>
            <p:spPr>
              <a:xfrm>
                <a:off x="5970828"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6" name="Freeform: Shape 235">
                <a:extLst>
                  <a:ext uri="{FF2B5EF4-FFF2-40B4-BE49-F238E27FC236}">
                    <a16:creationId xmlns:a16="http://schemas.microsoft.com/office/drawing/2014/main" id="{D088D3EB-C95E-441B-8F56-F04DDB19F1B6}"/>
                  </a:ext>
                </a:extLst>
              </p:cNvPr>
              <p:cNvSpPr/>
              <p:nvPr/>
            </p:nvSpPr>
            <p:spPr>
              <a:xfrm>
                <a:off x="6030073" y="3422225"/>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7" name="Freeform: Shape 236">
                <a:extLst>
                  <a:ext uri="{FF2B5EF4-FFF2-40B4-BE49-F238E27FC236}">
                    <a16:creationId xmlns:a16="http://schemas.microsoft.com/office/drawing/2014/main" id="{635A3D28-BCDB-445F-800B-8DE8585F6A30}"/>
                  </a:ext>
                </a:extLst>
              </p:cNvPr>
              <p:cNvSpPr/>
              <p:nvPr/>
            </p:nvSpPr>
            <p:spPr>
              <a:xfrm>
                <a:off x="6089224"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8" name="Freeform: Shape 237">
                <a:extLst>
                  <a:ext uri="{FF2B5EF4-FFF2-40B4-BE49-F238E27FC236}">
                    <a16:creationId xmlns:a16="http://schemas.microsoft.com/office/drawing/2014/main" id="{49C1D7F6-B9CD-46FF-9058-CD4E3DC2EC5C}"/>
                  </a:ext>
                </a:extLst>
              </p:cNvPr>
              <p:cNvSpPr/>
              <p:nvPr/>
            </p:nvSpPr>
            <p:spPr>
              <a:xfrm>
                <a:off x="6148469" y="3067039"/>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6953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54"/>
                      <a:pt x="10954" y="14097"/>
                      <a:pt x="7049" y="14097"/>
                    </a:cubicBezTo>
                    <a:cubicBezTo>
                      <a:pt x="3143" y="14097"/>
                      <a:pt x="0" y="10954"/>
                      <a:pt x="0" y="7049"/>
                    </a:cubicBezTo>
                    <a:cubicBezTo>
                      <a:pt x="0" y="3143"/>
                      <a:pt x="3048" y="0"/>
                      <a:pt x="6953"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9" name="Freeform: Shape 238">
                <a:extLst>
                  <a:ext uri="{FF2B5EF4-FFF2-40B4-BE49-F238E27FC236}">
                    <a16:creationId xmlns:a16="http://schemas.microsoft.com/office/drawing/2014/main" id="{9942B8B8-7819-434C-902E-8BF793967CF2}"/>
                  </a:ext>
                </a:extLst>
              </p:cNvPr>
              <p:cNvSpPr/>
              <p:nvPr/>
            </p:nvSpPr>
            <p:spPr>
              <a:xfrm>
                <a:off x="6207620"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0" name="Freeform: Shape 239">
                <a:extLst>
                  <a:ext uri="{FF2B5EF4-FFF2-40B4-BE49-F238E27FC236}">
                    <a16:creationId xmlns:a16="http://schemas.microsoft.com/office/drawing/2014/main" id="{CDF6FF28-FCCB-4FD3-B5EC-8F9E3F4A1F0B}"/>
                  </a:ext>
                </a:extLst>
              </p:cNvPr>
              <p:cNvSpPr/>
              <p:nvPr/>
            </p:nvSpPr>
            <p:spPr>
              <a:xfrm>
                <a:off x="6266865" y="3067039"/>
                <a:ext cx="14096" cy="14097"/>
              </a:xfrm>
              <a:custGeom>
                <a:avLst/>
                <a:gdLst>
                  <a:gd name="connsiteX0" fmla="*/ 14097 w 14096"/>
                  <a:gd name="connsiteY0" fmla="*/ 7049 h 14097"/>
                  <a:gd name="connsiteX1" fmla="*/ 7049 w 14096"/>
                  <a:gd name="connsiteY1" fmla="*/ 14097 h 14097"/>
                  <a:gd name="connsiteX2" fmla="*/ 0 w 14096"/>
                  <a:gd name="connsiteY2" fmla="*/ 7049 h 14097"/>
                  <a:gd name="connsiteX3" fmla="*/ 6953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9" y="14097"/>
                    </a:cubicBezTo>
                    <a:cubicBezTo>
                      <a:pt x="3143" y="14097"/>
                      <a:pt x="0" y="10954"/>
                      <a:pt x="0" y="7049"/>
                    </a:cubicBezTo>
                    <a:cubicBezTo>
                      <a:pt x="0" y="3143"/>
                      <a:pt x="3048" y="0"/>
                      <a:pt x="6953" y="0"/>
                    </a:cubicBezTo>
                    <a:cubicBezTo>
                      <a:pt x="10859"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1" name="Freeform: Shape 240">
                <a:extLst>
                  <a:ext uri="{FF2B5EF4-FFF2-40B4-BE49-F238E27FC236}">
                    <a16:creationId xmlns:a16="http://schemas.microsoft.com/office/drawing/2014/main" id="{36634934-EC58-49CF-8AF5-0D1AD757663A}"/>
                  </a:ext>
                </a:extLst>
              </p:cNvPr>
              <p:cNvSpPr/>
              <p:nvPr/>
            </p:nvSpPr>
            <p:spPr>
              <a:xfrm>
                <a:off x="6326014"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2" name="Freeform: Shape 241">
                <a:extLst>
                  <a:ext uri="{FF2B5EF4-FFF2-40B4-BE49-F238E27FC236}">
                    <a16:creationId xmlns:a16="http://schemas.microsoft.com/office/drawing/2014/main" id="{2A938075-EEBB-426F-AAEF-8DB877F1BF9F}"/>
                  </a:ext>
                </a:extLst>
              </p:cNvPr>
              <p:cNvSpPr/>
              <p:nvPr/>
            </p:nvSpPr>
            <p:spPr>
              <a:xfrm>
                <a:off x="6385260"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6953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048" y="0"/>
                      <a:pt x="6953" y="0"/>
                    </a:cubicBezTo>
                    <a:cubicBezTo>
                      <a:pt x="10858"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3" name="Freeform: Shape 242">
                <a:extLst>
                  <a:ext uri="{FF2B5EF4-FFF2-40B4-BE49-F238E27FC236}">
                    <a16:creationId xmlns:a16="http://schemas.microsoft.com/office/drawing/2014/main" id="{9CF2395A-C8FA-4CE0-BADE-AD9620DCAC97}"/>
                  </a:ext>
                </a:extLst>
              </p:cNvPr>
              <p:cNvSpPr/>
              <p:nvPr/>
            </p:nvSpPr>
            <p:spPr>
              <a:xfrm>
                <a:off x="6444410"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41"/>
                      <a:pt x="10941" y="14097"/>
                      <a:pt x="7048" y="14097"/>
                    </a:cubicBezTo>
                    <a:cubicBezTo>
                      <a:pt x="3156" y="14097"/>
                      <a:pt x="0" y="10941"/>
                      <a:pt x="0" y="7049"/>
                    </a:cubicBezTo>
                    <a:cubicBezTo>
                      <a:pt x="0" y="3156"/>
                      <a:pt x="3156" y="0"/>
                      <a:pt x="7048"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4" name="Freeform: Shape 243">
                <a:extLst>
                  <a:ext uri="{FF2B5EF4-FFF2-40B4-BE49-F238E27FC236}">
                    <a16:creationId xmlns:a16="http://schemas.microsoft.com/office/drawing/2014/main" id="{724C8CBB-AE30-4BDE-9609-6AD9DC4F1A8E}"/>
                  </a:ext>
                </a:extLst>
              </p:cNvPr>
              <p:cNvSpPr/>
              <p:nvPr/>
            </p:nvSpPr>
            <p:spPr>
              <a:xfrm>
                <a:off x="6148469" y="3126281"/>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5" name="Freeform: Shape 244">
                <a:extLst>
                  <a:ext uri="{FF2B5EF4-FFF2-40B4-BE49-F238E27FC236}">
                    <a16:creationId xmlns:a16="http://schemas.microsoft.com/office/drawing/2014/main" id="{75077D00-21A4-4EA4-A836-2E6F377DC283}"/>
                  </a:ext>
                </a:extLst>
              </p:cNvPr>
              <p:cNvSpPr/>
              <p:nvPr/>
            </p:nvSpPr>
            <p:spPr>
              <a:xfrm>
                <a:off x="6207620" y="3126281"/>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6" name="Freeform: Shape 245">
                <a:extLst>
                  <a:ext uri="{FF2B5EF4-FFF2-40B4-BE49-F238E27FC236}">
                    <a16:creationId xmlns:a16="http://schemas.microsoft.com/office/drawing/2014/main" id="{BFE1D84B-3E9B-4355-AB70-29BD0813469B}"/>
                  </a:ext>
                </a:extLst>
              </p:cNvPr>
              <p:cNvSpPr/>
              <p:nvPr/>
            </p:nvSpPr>
            <p:spPr>
              <a:xfrm>
                <a:off x="6266865" y="3126281"/>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7" name="Freeform: Shape 246">
                <a:extLst>
                  <a:ext uri="{FF2B5EF4-FFF2-40B4-BE49-F238E27FC236}">
                    <a16:creationId xmlns:a16="http://schemas.microsoft.com/office/drawing/2014/main" id="{7E91096F-72A7-40D5-8D94-E473A526218C}"/>
                  </a:ext>
                </a:extLst>
              </p:cNvPr>
              <p:cNvSpPr/>
              <p:nvPr/>
            </p:nvSpPr>
            <p:spPr>
              <a:xfrm>
                <a:off x="6326014" y="3126281"/>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8" name="Freeform: Shape 247">
                <a:extLst>
                  <a:ext uri="{FF2B5EF4-FFF2-40B4-BE49-F238E27FC236}">
                    <a16:creationId xmlns:a16="http://schemas.microsoft.com/office/drawing/2014/main" id="{0EB75445-3187-4401-86FD-A85FA620C85F}"/>
                  </a:ext>
                </a:extLst>
              </p:cNvPr>
              <p:cNvSpPr/>
              <p:nvPr/>
            </p:nvSpPr>
            <p:spPr>
              <a:xfrm>
                <a:off x="6385260" y="3126281"/>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9" name="Freeform: Shape 248">
                <a:extLst>
                  <a:ext uri="{FF2B5EF4-FFF2-40B4-BE49-F238E27FC236}">
                    <a16:creationId xmlns:a16="http://schemas.microsoft.com/office/drawing/2014/main" id="{1D95CA2E-E941-4D26-B91B-7CDAE8112AC0}"/>
                  </a:ext>
                </a:extLst>
              </p:cNvPr>
              <p:cNvSpPr/>
              <p:nvPr/>
            </p:nvSpPr>
            <p:spPr>
              <a:xfrm>
                <a:off x="6444410" y="3126283"/>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0" name="Freeform: Shape 249">
                <a:extLst>
                  <a:ext uri="{FF2B5EF4-FFF2-40B4-BE49-F238E27FC236}">
                    <a16:creationId xmlns:a16="http://schemas.microsoft.com/office/drawing/2014/main" id="{8A8CFFAC-749B-484A-8C17-634131D9C095}"/>
                  </a:ext>
                </a:extLst>
              </p:cNvPr>
              <p:cNvSpPr/>
              <p:nvPr/>
            </p:nvSpPr>
            <p:spPr>
              <a:xfrm>
                <a:off x="6148469" y="3185433"/>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1" name="Freeform: Shape 250">
                <a:extLst>
                  <a:ext uri="{FF2B5EF4-FFF2-40B4-BE49-F238E27FC236}">
                    <a16:creationId xmlns:a16="http://schemas.microsoft.com/office/drawing/2014/main" id="{3125F4A7-EAFB-49D2-848F-8D0C044BE27B}"/>
                  </a:ext>
                </a:extLst>
              </p:cNvPr>
              <p:cNvSpPr/>
              <p:nvPr/>
            </p:nvSpPr>
            <p:spPr>
              <a:xfrm>
                <a:off x="6207620" y="318543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2" name="Freeform: Shape 251">
                <a:extLst>
                  <a:ext uri="{FF2B5EF4-FFF2-40B4-BE49-F238E27FC236}">
                    <a16:creationId xmlns:a16="http://schemas.microsoft.com/office/drawing/2014/main" id="{B9B9B3BB-4B8E-4C75-96EA-4C2048C6F232}"/>
                  </a:ext>
                </a:extLst>
              </p:cNvPr>
              <p:cNvSpPr/>
              <p:nvPr/>
            </p:nvSpPr>
            <p:spPr>
              <a:xfrm>
                <a:off x="6266865" y="3185433"/>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3" name="Freeform: Shape 252">
                <a:extLst>
                  <a:ext uri="{FF2B5EF4-FFF2-40B4-BE49-F238E27FC236}">
                    <a16:creationId xmlns:a16="http://schemas.microsoft.com/office/drawing/2014/main" id="{9017FF82-4E07-4642-AD9E-BB96D42BD639}"/>
                  </a:ext>
                </a:extLst>
              </p:cNvPr>
              <p:cNvSpPr/>
              <p:nvPr/>
            </p:nvSpPr>
            <p:spPr>
              <a:xfrm>
                <a:off x="6326014" y="318543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4" name="Freeform: Shape 253">
                <a:extLst>
                  <a:ext uri="{FF2B5EF4-FFF2-40B4-BE49-F238E27FC236}">
                    <a16:creationId xmlns:a16="http://schemas.microsoft.com/office/drawing/2014/main" id="{6B1971AE-14DC-4045-882C-6B2E0CE3B16B}"/>
                  </a:ext>
                </a:extLst>
              </p:cNvPr>
              <p:cNvSpPr/>
              <p:nvPr/>
            </p:nvSpPr>
            <p:spPr>
              <a:xfrm>
                <a:off x="6385260" y="318543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5" name="Freeform: Shape 254">
                <a:extLst>
                  <a:ext uri="{FF2B5EF4-FFF2-40B4-BE49-F238E27FC236}">
                    <a16:creationId xmlns:a16="http://schemas.microsoft.com/office/drawing/2014/main" id="{AA8CD457-0651-4ECC-81C7-C21EE779EDDA}"/>
                  </a:ext>
                </a:extLst>
              </p:cNvPr>
              <p:cNvSpPr/>
              <p:nvPr/>
            </p:nvSpPr>
            <p:spPr>
              <a:xfrm>
                <a:off x="6444410" y="3185432"/>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41"/>
                      <a:pt x="10941" y="14097"/>
                      <a:pt x="7048" y="14097"/>
                    </a:cubicBezTo>
                    <a:cubicBezTo>
                      <a:pt x="3156" y="14097"/>
                      <a:pt x="0" y="10941"/>
                      <a:pt x="0" y="7049"/>
                    </a:cubicBezTo>
                    <a:cubicBezTo>
                      <a:pt x="0" y="3156"/>
                      <a:pt x="3156" y="0"/>
                      <a:pt x="7048"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6" name="Freeform: Shape 255">
                <a:extLst>
                  <a:ext uri="{FF2B5EF4-FFF2-40B4-BE49-F238E27FC236}">
                    <a16:creationId xmlns:a16="http://schemas.microsoft.com/office/drawing/2014/main" id="{65833210-69A5-47FF-8EA9-99D9E28B8D6D}"/>
                  </a:ext>
                </a:extLst>
              </p:cNvPr>
              <p:cNvSpPr/>
              <p:nvPr/>
            </p:nvSpPr>
            <p:spPr>
              <a:xfrm>
                <a:off x="6148469" y="3244676"/>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7" name="Freeform: Shape 256">
                <a:extLst>
                  <a:ext uri="{FF2B5EF4-FFF2-40B4-BE49-F238E27FC236}">
                    <a16:creationId xmlns:a16="http://schemas.microsoft.com/office/drawing/2014/main" id="{C04C7A32-9FAA-4F63-9C56-4924343522E5}"/>
                  </a:ext>
                </a:extLst>
              </p:cNvPr>
              <p:cNvSpPr/>
              <p:nvPr/>
            </p:nvSpPr>
            <p:spPr>
              <a:xfrm>
                <a:off x="6207620" y="3244676"/>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8" name="Freeform: Shape 257">
                <a:extLst>
                  <a:ext uri="{FF2B5EF4-FFF2-40B4-BE49-F238E27FC236}">
                    <a16:creationId xmlns:a16="http://schemas.microsoft.com/office/drawing/2014/main" id="{49DC777D-C77C-4470-B4AF-C884887B0C9C}"/>
                  </a:ext>
                </a:extLst>
              </p:cNvPr>
              <p:cNvSpPr/>
              <p:nvPr/>
            </p:nvSpPr>
            <p:spPr>
              <a:xfrm>
                <a:off x="6266865" y="3244676"/>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9" name="Freeform: Shape 258">
                <a:extLst>
                  <a:ext uri="{FF2B5EF4-FFF2-40B4-BE49-F238E27FC236}">
                    <a16:creationId xmlns:a16="http://schemas.microsoft.com/office/drawing/2014/main" id="{158BF1D0-C876-400E-A139-5CE34D9B7581}"/>
                  </a:ext>
                </a:extLst>
              </p:cNvPr>
              <p:cNvSpPr/>
              <p:nvPr/>
            </p:nvSpPr>
            <p:spPr>
              <a:xfrm>
                <a:off x="6326014" y="3244676"/>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0" name="Freeform: Shape 259">
                <a:extLst>
                  <a:ext uri="{FF2B5EF4-FFF2-40B4-BE49-F238E27FC236}">
                    <a16:creationId xmlns:a16="http://schemas.microsoft.com/office/drawing/2014/main" id="{12B92D7A-51EB-488C-8B4A-2DA48105CA0C}"/>
                  </a:ext>
                </a:extLst>
              </p:cNvPr>
              <p:cNvSpPr/>
              <p:nvPr/>
            </p:nvSpPr>
            <p:spPr>
              <a:xfrm>
                <a:off x="6385260" y="3244676"/>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1" name="Freeform: Shape 260">
                <a:extLst>
                  <a:ext uri="{FF2B5EF4-FFF2-40B4-BE49-F238E27FC236}">
                    <a16:creationId xmlns:a16="http://schemas.microsoft.com/office/drawing/2014/main" id="{36F35362-EC6C-4B99-8EA0-B2E5F7E57544}"/>
                  </a:ext>
                </a:extLst>
              </p:cNvPr>
              <p:cNvSpPr/>
              <p:nvPr/>
            </p:nvSpPr>
            <p:spPr>
              <a:xfrm>
                <a:off x="6444410" y="324467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2" name="Freeform: Shape 261">
                <a:extLst>
                  <a:ext uri="{FF2B5EF4-FFF2-40B4-BE49-F238E27FC236}">
                    <a16:creationId xmlns:a16="http://schemas.microsoft.com/office/drawing/2014/main" id="{E198CDFA-E8E4-4AB8-8152-70D0A9901701}"/>
                  </a:ext>
                </a:extLst>
              </p:cNvPr>
              <p:cNvSpPr/>
              <p:nvPr/>
            </p:nvSpPr>
            <p:spPr>
              <a:xfrm>
                <a:off x="6148469" y="3303829"/>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3" name="Freeform: Shape 262">
                <a:extLst>
                  <a:ext uri="{FF2B5EF4-FFF2-40B4-BE49-F238E27FC236}">
                    <a16:creationId xmlns:a16="http://schemas.microsoft.com/office/drawing/2014/main" id="{0A6E867E-E4D5-4962-B1E3-40C1EBAD4540}"/>
                  </a:ext>
                </a:extLst>
              </p:cNvPr>
              <p:cNvSpPr/>
              <p:nvPr/>
            </p:nvSpPr>
            <p:spPr>
              <a:xfrm>
                <a:off x="6207620"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4" name="Freeform: Shape 263">
                <a:extLst>
                  <a:ext uri="{FF2B5EF4-FFF2-40B4-BE49-F238E27FC236}">
                    <a16:creationId xmlns:a16="http://schemas.microsoft.com/office/drawing/2014/main" id="{80E476FD-96DE-446C-867F-9D329645237F}"/>
                  </a:ext>
                </a:extLst>
              </p:cNvPr>
              <p:cNvSpPr/>
              <p:nvPr/>
            </p:nvSpPr>
            <p:spPr>
              <a:xfrm>
                <a:off x="6266865" y="3303829"/>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5" name="Freeform: Shape 264">
                <a:extLst>
                  <a:ext uri="{FF2B5EF4-FFF2-40B4-BE49-F238E27FC236}">
                    <a16:creationId xmlns:a16="http://schemas.microsoft.com/office/drawing/2014/main" id="{2A4B1DEE-9DE5-44FA-999C-35FC48FFD87B}"/>
                  </a:ext>
                </a:extLst>
              </p:cNvPr>
              <p:cNvSpPr/>
              <p:nvPr/>
            </p:nvSpPr>
            <p:spPr>
              <a:xfrm>
                <a:off x="6326014"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6" name="Freeform: Shape 265">
                <a:extLst>
                  <a:ext uri="{FF2B5EF4-FFF2-40B4-BE49-F238E27FC236}">
                    <a16:creationId xmlns:a16="http://schemas.microsoft.com/office/drawing/2014/main" id="{B0466F5E-3E96-4F81-8A0D-03BE09971D09}"/>
                  </a:ext>
                </a:extLst>
              </p:cNvPr>
              <p:cNvSpPr/>
              <p:nvPr/>
            </p:nvSpPr>
            <p:spPr>
              <a:xfrm>
                <a:off x="6385260"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7" name="Freeform: Shape 266">
                <a:extLst>
                  <a:ext uri="{FF2B5EF4-FFF2-40B4-BE49-F238E27FC236}">
                    <a16:creationId xmlns:a16="http://schemas.microsoft.com/office/drawing/2014/main" id="{7F10273E-D499-4A93-806B-29552CFEAB94}"/>
                  </a:ext>
                </a:extLst>
              </p:cNvPr>
              <p:cNvSpPr/>
              <p:nvPr/>
            </p:nvSpPr>
            <p:spPr>
              <a:xfrm>
                <a:off x="6444410"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8" name="Freeform: Shape 267">
                <a:extLst>
                  <a:ext uri="{FF2B5EF4-FFF2-40B4-BE49-F238E27FC236}">
                    <a16:creationId xmlns:a16="http://schemas.microsoft.com/office/drawing/2014/main" id="{9F109E66-58F5-49F9-A8FA-C2C6B9D3314D}"/>
                  </a:ext>
                </a:extLst>
              </p:cNvPr>
              <p:cNvSpPr/>
              <p:nvPr/>
            </p:nvSpPr>
            <p:spPr>
              <a:xfrm>
                <a:off x="6148469" y="3363072"/>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9" name="Freeform: Shape 268">
                <a:extLst>
                  <a:ext uri="{FF2B5EF4-FFF2-40B4-BE49-F238E27FC236}">
                    <a16:creationId xmlns:a16="http://schemas.microsoft.com/office/drawing/2014/main" id="{BEFEAFE3-481D-4BD8-8E0E-FD2D65147594}"/>
                  </a:ext>
                </a:extLst>
              </p:cNvPr>
              <p:cNvSpPr/>
              <p:nvPr/>
            </p:nvSpPr>
            <p:spPr>
              <a:xfrm>
                <a:off x="6207620"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0" name="Freeform: Shape 269">
                <a:extLst>
                  <a:ext uri="{FF2B5EF4-FFF2-40B4-BE49-F238E27FC236}">
                    <a16:creationId xmlns:a16="http://schemas.microsoft.com/office/drawing/2014/main" id="{4D9F94D2-04D5-4055-ABB3-12E2D54D9168}"/>
                  </a:ext>
                </a:extLst>
              </p:cNvPr>
              <p:cNvSpPr/>
              <p:nvPr/>
            </p:nvSpPr>
            <p:spPr>
              <a:xfrm>
                <a:off x="6266865" y="3363072"/>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1" name="Freeform: Shape 270">
                <a:extLst>
                  <a:ext uri="{FF2B5EF4-FFF2-40B4-BE49-F238E27FC236}">
                    <a16:creationId xmlns:a16="http://schemas.microsoft.com/office/drawing/2014/main" id="{8DF12218-DA8B-4C9D-AC25-6E4EB9E5157A}"/>
                  </a:ext>
                </a:extLst>
              </p:cNvPr>
              <p:cNvSpPr/>
              <p:nvPr/>
            </p:nvSpPr>
            <p:spPr>
              <a:xfrm>
                <a:off x="6326014"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2" name="Freeform: Shape 271">
                <a:extLst>
                  <a:ext uri="{FF2B5EF4-FFF2-40B4-BE49-F238E27FC236}">
                    <a16:creationId xmlns:a16="http://schemas.microsoft.com/office/drawing/2014/main" id="{0EBFC3D4-98BB-45EA-B787-42AD1392C199}"/>
                  </a:ext>
                </a:extLst>
              </p:cNvPr>
              <p:cNvSpPr/>
              <p:nvPr/>
            </p:nvSpPr>
            <p:spPr>
              <a:xfrm>
                <a:off x="6385260"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3" name="Freeform: Shape 272">
                <a:extLst>
                  <a:ext uri="{FF2B5EF4-FFF2-40B4-BE49-F238E27FC236}">
                    <a16:creationId xmlns:a16="http://schemas.microsoft.com/office/drawing/2014/main" id="{B012490F-C6CB-4B2B-ACEE-164410E430AA}"/>
                  </a:ext>
                </a:extLst>
              </p:cNvPr>
              <p:cNvSpPr/>
              <p:nvPr/>
            </p:nvSpPr>
            <p:spPr>
              <a:xfrm>
                <a:off x="6444410" y="3363074"/>
                <a:ext cx="14096" cy="14097"/>
              </a:xfrm>
              <a:custGeom>
                <a:avLst/>
                <a:gdLst>
                  <a:gd name="connsiteX0" fmla="*/ 14097 w 14096"/>
                  <a:gd name="connsiteY0" fmla="*/ 7048 h 14097"/>
                  <a:gd name="connsiteX1" fmla="*/ 7048 w 14096"/>
                  <a:gd name="connsiteY1" fmla="*/ 14097 h 14097"/>
                  <a:gd name="connsiteX2" fmla="*/ 0 w 14096"/>
                  <a:gd name="connsiteY2" fmla="*/ 7048 h 14097"/>
                  <a:gd name="connsiteX3" fmla="*/ 7048 w 14096"/>
                  <a:gd name="connsiteY3" fmla="*/ 0 h 14097"/>
                  <a:gd name="connsiteX4" fmla="*/ 14097 w 14096"/>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4" name="Freeform: Shape 273">
                <a:extLst>
                  <a:ext uri="{FF2B5EF4-FFF2-40B4-BE49-F238E27FC236}">
                    <a16:creationId xmlns:a16="http://schemas.microsoft.com/office/drawing/2014/main" id="{C8A0CEBF-7017-4AE8-B110-4FB98A0931A1}"/>
                  </a:ext>
                </a:extLst>
              </p:cNvPr>
              <p:cNvSpPr/>
              <p:nvPr/>
            </p:nvSpPr>
            <p:spPr>
              <a:xfrm>
                <a:off x="6148469" y="3422225"/>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5" name="Freeform: Shape 274">
                <a:extLst>
                  <a:ext uri="{FF2B5EF4-FFF2-40B4-BE49-F238E27FC236}">
                    <a16:creationId xmlns:a16="http://schemas.microsoft.com/office/drawing/2014/main" id="{BFB90B3C-B2E2-41FC-852F-20935BD58D3F}"/>
                  </a:ext>
                </a:extLst>
              </p:cNvPr>
              <p:cNvSpPr/>
              <p:nvPr/>
            </p:nvSpPr>
            <p:spPr>
              <a:xfrm>
                <a:off x="6207620"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6" name="Freeform: Shape 275">
                <a:extLst>
                  <a:ext uri="{FF2B5EF4-FFF2-40B4-BE49-F238E27FC236}">
                    <a16:creationId xmlns:a16="http://schemas.microsoft.com/office/drawing/2014/main" id="{AD216D02-05DA-4573-8119-B89DD39D163C}"/>
                  </a:ext>
                </a:extLst>
              </p:cNvPr>
              <p:cNvSpPr/>
              <p:nvPr/>
            </p:nvSpPr>
            <p:spPr>
              <a:xfrm>
                <a:off x="6266865" y="3422225"/>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7" name="Freeform: Shape 276">
                <a:extLst>
                  <a:ext uri="{FF2B5EF4-FFF2-40B4-BE49-F238E27FC236}">
                    <a16:creationId xmlns:a16="http://schemas.microsoft.com/office/drawing/2014/main" id="{4AD95CA3-812D-4706-A483-37C60CEFCF96}"/>
                  </a:ext>
                </a:extLst>
              </p:cNvPr>
              <p:cNvSpPr/>
              <p:nvPr/>
            </p:nvSpPr>
            <p:spPr>
              <a:xfrm>
                <a:off x="6326014"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8" name="Freeform: Shape 277">
                <a:extLst>
                  <a:ext uri="{FF2B5EF4-FFF2-40B4-BE49-F238E27FC236}">
                    <a16:creationId xmlns:a16="http://schemas.microsoft.com/office/drawing/2014/main" id="{ED7350CE-E616-42AC-8E07-41E9A7A07CA9}"/>
                  </a:ext>
                </a:extLst>
              </p:cNvPr>
              <p:cNvSpPr/>
              <p:nvPr/>
            </p:nvSpPr>
            <p:spPr>
              <a:xfrm>
                <a:off x="6385260"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9" name="Freeform: Shape 278">
                <a:extLst>
                  <a:ext uri="{FF2B5EF4-FFF2-40B4-BE49-F238E27FC236}">
                    <a16:creationId xmlns:a16="http://schemas.microsoft.com/office/drawing/2014/main" id="{87A359AE-1FD7-4EC0-9759-55B2173A6EFD}"/>
                  </a:ext>
                </a:extLst>
              </p:cNvPr>
              <p:cNvSpPr/>
              <p:nvPr/>
            </p:nvSpPr>
            <p:spPr>
              <a:xfrm>
                <a:off x="6444410" y="342222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0" name="Freeform: Shape 279">
                <a:extLst>
                  <a:ext uri="{FF2B5EF4-FFF2-40B4-BE49-F238E27FC236}">
                    <a16:creationId xmlns:a16="http://schemas.microsoft.com/office/drawing/2014/main" id="{97A88E14-719D-4D47-A0A1-80D6780E8EED}"/>
                  </a:ext>
                </a:extLst>
              </p:cNvPr>
              <p:cNvSpPr/>
              <p:nvPr/>
            </p:nvSpPr>
            <p:spPr>
              <a:xfrm>
                <a:off x="5734038" y="3481374"/>
                <a:ext cx="14192" cy="14096"/>
              </a:xfrm>
              <a:custGeom>
                <a:avLst/>
                <a:gdLst>
                  <a:gd name="connsiteX0" fmla="*/ 14192 w 14192"/>
                  <a:gd name="connsiteY0" fmla="*/ 7049 h 14096"/>
                  <a:gd name="connsiteX1" fmla="*/ 7144 w 14192"/>
                  <a:gd name="connsiteY1" fmla="*/ 14097 h 14096"/>
                  <a:gd name="connsiteX2" fmla="*/ 0 w 14192"/>
                  <a:gd name="connsiteY2" fmla="*/ 7049 h 14096"/>
                  <a:gd name="connsiteX3" fmla="*/ 7049 w 14192"/>
                  <a:gd name="connsiteY3" fmla="*/ 0 h 14096"/>
                  <a:gd name="connsiteX4" fmla="*/ 14192 w 14192"/>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9"/>
                    </a:moveTo>
                    <a:cubicBezTo>
                      <a:pt x="14192" y="10954"/>
                      <a:pt x="11049" y="14097"/>
                      <a:pt x="7144" y="14097"/>
                    </a:cubicBezTo>
                    <a:cubicBezTo>
                      <a:pt x="3239" y="14097"/>
                      <a:pt x="0" y="11049"/>
                      <a:pt x="0" y="7049"/>
                    </a:cubicBezTo>
                    <a:cubicBezTo>
                      <a:pt x="0" y="3048"/>
                      <a:pt x="3143" y="0"/>
                      <a:pt x="7049" y="0"/>
                    </a:cubicBezTo>
                    <a:cubicBezTo>
                      <a:pt x="10954" y="0"/>
                      <a:pt x="14192" y="3143"/>
                      <a:pt x="14192"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1" name="Freeform: Shape 280">
                <a:extLst>
                  <a:ext uri="{FF2B5EF4-FFF2-40B4-BE49-F238E27FC236}">
                    <a16:creationId xmlns:a16="http://schemas.microsoft.com/office/drawing/2014/main" id="{D16E2313-CE29-4A31-AC81-790178F4746A}"/>
                  </a:ext>
                </a:extLst>
              </p:cNvPr>
              <p:cNvSpPr/>
              <p:nvPr/>
            </p:nvSpPr>
            <p:spPr>
              <a:xfrm>
                <a:off x="5793283" y="348137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2" name="Freeform: Shape 281">
                <a:extLst>
                  <a:ext uri="{FF2B5EF4-FFF2-40B4-BE49-F238E27FC236}">
                    <a16:creationId xmlns:a16="http://schemas.microsoft.com/office/drawing/2014/main" id="{1D1C4F29-D833-4964-B939-3B727AE1EA41}"/>
                  </a:ext>
                </a:extLst>
              </p:cNvPr>
              <p:cNvSpPr/>
              <p:nvPr/>
            </p:nvSpPr>
            <p:spPr>
              <a:xfrm>
                <a:off x="5852433"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3" name="Freeform: Shape 282">
                <a:extLst>
                  <a:ext uri="{FF2B5EF4-FFF2-40B4-BE49-F238E27FC236}">
                    <a16:creationId xmlns:a16="http://schemas.microsoft.com/office/drawing/2014/main" id="{4AAC2964-5640-4A4F-AF95-C44533263206}"/>
                  </a:ext>
                </a:extLst>
              </p:cNvPr>
              <p:cNvSpPr/>
              <p:nvPr/>
            </p:nvSpPr>
            <p:spPr>
              <a:xfrm>
                <a:off x="5911678"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4" name="Freeform: Shape 283">
                <a:extLst>
                  <a:ext uri="{FF2B5EF4-FFF2-40B4-BE49-F238E27FC236}">
                    <a16:creationId xmlns:a16="http://schemas.microsoft.com/office/drawing/2014/main" id="{234E3EAE-3024-4122-B3C9-D19EF89411B2}"/>
                  </a:ext>
                </a:extLst>
              </p:cNvPr>
              <p:cNvSpPr/>
              <p:nvPr/>
            </p:nvSpPr>
            <p:spPr>
              <a:xfrm>
                <a:off x="5970828"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5" name="Freeform: Shape 284">
                <a:extLst>
                  <a:ext uri="{FF2B5EF4-FFF2-40B4-BE49-F238E27FC236}">
                    <a16:creationId xmlns:a16="http://schemas.microsoft.com/office/drawing/2014/main" id="{28FD952A-B49E-4AFD-BE46-A826C893BA2B}"/>
                  </a:ext>
                </a:extLst>
              </p:cNvPr>
              <p:cNvSpPr/>
              <p:nvPr/>
            </p:nvSpPr>
            <p:spPr>
              <a:xfrm>
                <a:off x="6030074" y="348137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6" name="Freeform: Shape 285">
                <a:extLst>
                  <a:ext uri="{FF2B5EF4-FFF2-40B4-BE49-F238E27FC236}">
                    <a16:creationId xmlns:a16="http://schemas.microsoft.com/office/drawing/2014/main" id="{A8F11D09-106F-4800-8537-1511F52735A8}"/>
                  </a:ext>
                </a:extLst>
              </p:cNvPr>
              <p:cNvSpPr/>
              <p:nvPr/>
            </p:nvSpPr>
            <p:spPr>
              <a:xfrm>
                <a:off x="6089224"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7" name="Freeform: Shape 286">
                <a:extLst>
                  <a:ext uri="{FF2B5EF4-FFF2-40B4-BE49-F238E27FC236}">
                    <a16:creationId xmlns:a16="http://schemas.microsoft.com/office/drawing/2014/main" id="{628B2A9C-BF81-4C2A-A82F-094822D91962}"/>
                  </a:ext>
                </a:extLst>
              </p:cNvPr>
              <p:cNvSpPr/>
              <p:nvPr/>
            </p:nvSpPr>
            <p:spPr>
              <a:xfrm>
                <a:off x="5734038" y="3540620"/>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8" name="Freeform: Shape 287">
                <a:extLst>
                  <a:ext uri="{FF2B5EF4-FFF2-40B4-BE49-F238E27FC236}">
                    <a16:creationId xmlns:a16="http://schemas.microsoft.com/office/drawing/2014/main" id="{67DB4930-228B-47AF-AAF7-1BF8F1B48A13}"/>
                  </a:ext>
                </a:extLst>
              </p:cNvPr>
              <p:cNvSpPr/>
              <p:nvPr/>
            </p:nvSpPr>
            <p:spPr>
              <a:xfrm>
                <a:off x="5793283" y="3540620"/>
                <a:ext cx="14097" cy="14097"/>
              </a:xfrm>
              <a:custGeom>
                <a:avLst/>
                <a:gdLst>
                  <a:gd name="connsiteX0" fmla="*/ 14097 w 14097"/>
                  <a:gd name="connsiteY0" fmla="*/ 7048 h 14097"/>
                  <a:gd name="connsiteX1" fmla="*/ 7049 w 14097"/>
                  <a:gd name="connsiteY1" fmla="*/ 14097 h 14097"/>
                  <a:gd name="connsiteX2" fmla="*/ 0 w 14097"/>
                  <a:gd name="connsiteY2" fmla="*/ 7048 h 14097"/>
                  <a:gd name="connsiteX3" fmla="*/ 7049 w 14097"/>
                  <a:gd name="connsiteY3" fmla="*/ 0 h 14097"/>
                  <a:gd name="connsiteX4" fmla="*/ 14097 w 14097"/>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9" name="Freeform: Shape 288">
                <a:extLst>
                  <a:ext uri="{FF2B5EF4-FFF2-40B4-BE49-F238E27FC236}">
                    <a16:creationId xmlns:a16="http://schemas.microsoft.com/office/drawing/2014/main" id="{5C000D14-C33C-4ABC-8859-916548DDFFB4}"/>
                  </a:ext>
                </a:extLst>
              </p:cNvPr>
              <p:cNvSpPr/>
              <p:nvPr/>
            </p:nvSpPr>
            <p:spPr>
              <a:xfrm>
                <a:off x="5852433"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0" name="Freeform: Shape 289">
                <a:extLst>
                  <a:ext uri="{FF2B5EF4-FFF2-40B4-BE49-F238E27FC236}">
                    <a16:creationId xmlns:a16="http://schemas.microsoft.com/office/drawing/2014/main" id="{EFD3C8C8-BB59-449C-B55E-01F014FF2BD1}"/>
                  </a:ext>
                </a:extLst>
              </p:cNvPr>
              <p:cNvSpPr/>
              <p:nvPr/>
            </p:nvSpPr>
            <p:spPr>
              <a:xfrm>
                <a:off x="5911678"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1" name="Freeform: Shape 290">
                <a:extLst>
                  <a:ext uri="{FF2B5EF4-FFF2-40B4-BE49-F238E27FC236}">
                    <a16:creationId xmlns:a16="http://schemas.microsoft.com/office/drawing/2014/main" id="{F67091D2-B1F6-4D9C-BE4A-EE3988A464AF}"/>
                  </a:ext>
                </a:extLst>
              </p:cNvPr>
              <p:cNvSpPr/>
              <p:nvPr/>
            </p:nvSpPr>
            <p:spPr>
              <a:xfrm>
                <a:off x="5970828"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2" name="Freeform: Shape 291">
                <a:extLst>
                  <a:ext uri="{FF2B5EF4-FFF2-40B4-BE49-F238E27FC236}">
                    <a16:creationId xmlns:a16="http://schemas.microsoft.com/office/drawing/2014/main" id="{E696DB2D-BF32-49CF-A3D0-B5BCFFFC3A7C}"/>
                  </a:ext>
                </a:extLst>
              </p:cNvPr>
              <p:cNvSpPr/>
              <p:nvPr/>
            </p:nvSpPr>
            <p:spPr>
              <a:xfrm>
                <a:off x="6030074" y="3540620"/>
                <a:ext cx="14097" cy="14097"/>
              </a:xfrm>
              <a:custGeom>
                <a:avLst/>
                <a:gdLst>
                  <a:gd name="connsiteX0" fmla="*/ 14097 w 14097"/>
                  <a:gd name="connsiteY0" fmla="*/ 7048 h 14097"/>
                  <a:gd name="connsiteX1" fmla="*/ 7049 w 14097"/>
                  <a:gd name="connsiteY1" fmla="*/ 14097 h 14097"/>
                  <a:gd name="connsiteX2" fmla="*/ 0 w 14097"/>
                  <a:gd name="connsiteY2" fmla="*/ 7048 h 14097"/>
                  <a:gd name="connsiteX3" fmla="*/ 7049 w 14097"/>
                  <a:gd name="connsiteY3" fmla="*/ 0 h 14097"/>
                  <a:gd name="connsiteX4" fmla="*/ 14097 w 14097"/>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3" name="Freeform: Shape 292">
                <a:extLst>
                  <a:ext uri="{FF2B5EF4-FFF2-40B4-BE49-F238E27FC236}">
                    <a16:creationId xmlns:a16="http://schemas.microsoft.com/office/drawing/2014/main" id="{DA9DFC77-4503-4E27-81F8-4EC423EE7F26}"/>
                  </a:ext>
                </a:extLst>
              </p:cNvPr>
              <p:cNvSpPr/>
              <p:nvPr/>
            </p:nvSpPr>
            <p:spPr>
              <a:xfrm>
                <a:off x="6089224"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4" name="Freeform: Shape 293">
                <a:extLst>
                  <a:ext uri="{FF2B5EF4-FFF2-40B4-BE49-F238E27FC236}">
                    <a16:creationId xmlns:a16="http://schemas.microsoft.com/office/drawing/2014/main" id="{C9750606-8257-49A8-BAC6-8AF5245F225F}"/>
                  </a:ext>
                </a:extLst>
              </p:cNvPr>
              <p:cNvSpPr/>
              <p:nvPr/>
            </p:nvSpPr>
            <p:spPr>
              <a:xfrm>
                <a:off x="5734038" y="3599770"/>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5" name="Freeform: Shape 294">
                <a:extLst>
                  <a:ext uri="{FF2B5EF4-FFF2-40B4-BE49-F238E27FC236}">
                    <a16:creationId xmlns:a16="http://schemas.microsoft.com/office/drawing/2014/main" id="{1FAF9961-6FEB-4F37-AA12-4123C2F348CF}"/>
                  </a:ext>
                </a:extLst>
              </p:cNvPr>
              <p:cNvSpPr/>
              <p:nvPr/>
            </p:nvSpPr>
            <p:spPr>
              <a:xfrm>
                <a:off x="5793283" y="3599770"/>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6" name="Freeform: Shape 295">
                <a:extLst>
                  <a:ext uri="{FF2B5EF4-FFF2-40B4-BE49-F238E27FC236}">
                    <a16:creationId xmlns:a16="http://schemas.microsoft.com/office/drawing/2014/main" id="{ECEB85EF-07A3-4915-972B-41652BD77A0A}"/>
                  </a:ext>
                </a:extLst>
              </p:cNvPr>
              <p:cNvSpPr/>
              <p:nvPr/>
            </p:nvSpPr>
            <p:spPr>
              <a:xfrm>
                <a:off x="5852433"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7" name="Freeform: Shape 296">
                <a:extLst>
                  <a:ext uri="{FF2B5EF4-FFF2-40B4-BE49-F238E27FC236}">
                    <a16:creationId xmlns:a16="http://schemas.microsoft.com/office/drawing/2014/main" id="{70E3C169-E198-408B-8C0B-6D107638EEA4}"/>
                  </a:ext>
                </a:extLst>
              </p:cNvPr>
              <p:cNvSpPr/>
              <p:nvPr/>
            </p:nvSpPr>
            <p:spPr>
              <a:xfrm>
                <a:off x="5911678"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8" name="Freeform: Shape 297">
                <a:extLst>
                  <a:ext uri="{FF2B5EF4-FFF2-40B4-BE49-F238E27FC236}">
                    <a16:creationId xmlns:a16="http://schemas.microsoft.com/office/drawing/2014/main" id="{F55D2648-69AF-4F06-B4E2-ED7EB64562C0}"/>
                  </a:ext>
                </a:extLst>
              </p:cNvPr>
              <p:cNvSpPr/>
              <p:nvPr/>
            </p:nvSpPr>
            <p:spPr>
              <a:xfrm>
                <a:off x="5970828"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9" name="Freeform: Shape 298">
                <a:extLst>
                  <a:ext uri="{FF2B5EF4-FFF2-40B4-BE49-F238E27FC236}">
                    <a16:creationId xmlns:a16="http://schemas.microsoft.com/office/drawing/2014/main" id="{808EE613-DBD4-40A5-B2FC-FFE52B379596}"/>
                  </a:ext>
                </a:extLst>
              </p:cNvPr>
              <p:cNvSpPr/>
              <p:nvPr/>
            </p:nvSpPr>
            <p:spPr>
              <a:xfrm>
                <a:off x="6030073" y="3599770"/>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0" name="Freeform: Shape 299">
                <a:extLst>
                  <a:ext uri="{FF2B5EF4-FFF2-40B4-BE49-F238E27FC236}">
                    <a16:creationId xmlns:a16="http://schemas.microsoft.com/office/drawing/2014/main" id="{5CF13D94-C51E-4F0C-93ED-89C74D5967D4}"/>
                  </a:ext>
                </a:extLst>
              </p:cNvPr>
              <p:cNvSpPr/>
              <p:nvPr/>
            </p:nvSpPr>
            <p:spPr>
              <a:xfrm>
                <a:off x="6089224"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1" name="Freeform: Shape 300">
                <a:extLst>
                  <a:ext uri="{FF2B5EF4-FFF2-40B4-BE49-F238E27FC236}">
                    <a16:creationId xmlns:a16="http://schemas.microsoft.com/office/drawing/2014/main" id="{D02372BC-9E3F-430B-9E13-B750B7548287}"/>
                  </a:ext>
                </a:extLst>
              </p:cNvPr>
              <p:cNvSpPr/>
              <p:nvPr/>
            </p:nvSpPr>
            <p:spPr>
              <a:xfrm>
                <a:off x="5734037" y="3659014"/>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2" name="Freeform: Shape 301">
                <a:extLst>
                  <a:ext uri="{FF2B5EF4-FFF2-40B4-BE49-F238E27FC236}">
                    <a16:creationId xmlns:a16="http://schemas.microsoft.com/office/drawing/2014/main" id="{5CC5A4DF-827D-4F25-A560-89C50AFC96F9}"/>
                  </a:ext>
                </a:extLst>
              </p:cNvPr>
              <p:cNvSpPr/>
              <p:nvPr/>
            </p:nvSpPr>
            <p:spPr>
              <a:xfrm>
                <a:off x="5793282" y="3659014"/>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3" name="Freeform: Shape 302">
                <a:extLst>
                  <a:ext uri="{FF2B5EF4-FFF2-40B4-BE49-F238E27FC236}">
                    <a16:creationId xmlns:a16="http://schemas.microsoft.com/office/drawing/2014/main" id="{C664ED74-3F99-4CD6-9B08-8C66D3C2384C}"/>
                  </a:ext>
                </a:extLst>
              </p:cNvPr>
              <p:cNvSpPr/>
              <p:nvPr/>
            </p:nvSpPr>
            <p:spPr>
              <a:xfrm>
                <a:off x="5852432"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4" name="Freeform: Shape 303">
                <a:extLst>
                  <a:ext uri="{FF2B5EF4-FFF2-40B4-BE49-F238E27FC236}">
                    <a16:creationId xmlns:a16="http://schemas.microsoft.com/office/drawing/2014/main" id="{A366A050-ABC8-404E-9D19-88C1BFD746AD}"/>
                  </a:ext>
                </a:extLst>
              </p:cNvPr>
              <p:cNvSpPr/>
              <p:nvPr/>
            </p:nvSpPr>
            <p:spPr>
              <a:xfrm>
                <a:off x="5911678"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5" name="Freeform: Shape 304">
                <a:extLst>
                  <a:ext uri="{FF2B5EF4-FFF2-40B4-BE49-F238E27FC236}">
                    <a16:creationId xmlns:a16="http://schemas.microsoft.com/office/drawing/2014/main" id="{E54F9189-EFA8-450C-9A79-2642C2815DC1}"/>
                  </a:ext>
                </a:extLst>
              </p:cNvPr>
              <p:cNvSpPr/>
              <p:nvPr/>
            </p:nvSpPr>
            <p:spPr>
              <a:xfrm>
                <a:off x="5970828"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6" name="Freeform: Shape 305">
                <a:extLst>
                  <a:ext uri="{FF2B5EF4-FFF2-40B4-BE49-F238E27FC236}">
                    <a16:creationId xmlns:a16="http://schemas.microsoft.com/office/drawing/2014/main" id="{83474EF4-3910-4D27-8CE9-6B0571690FB0}"/>
                  </a:ext>
                </a:extLst>
              </p:cNvPr>
              <p:cNvSpPr/>
              <p:nvPr/>
            </p:nvSpPr>
            <p:spPr>
              <a:xfrm>
                <a:off x="6030073" y="3659014"/>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7" name="Freeform: Shape 306">
                <a:extLst>
                  <a:ext uri="{FF2B5EF4-FFF2-40B4-BE49-F238E27FC236}">
                    <a16:creationId xmlns:a16="http://schemas.microsoft.com/office/drawing/2014/main" id="{07AF992F-ECBF-4DC7-AAD7-C89A905F51C3}"/>
                  </a:ext>
                </a:extLst>
              </p:cNvPr>
              <p:cNvSpPr/>
              <p:nvPr/>
            </p:nvSpPr>
            <p:spPr>
              <a:xfrm>
                <a:off x="6089224"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8" name="Freeform: Shape 307">
                <a:extLst>
                  <a:ext uri="{FF2B5EF4-FFF2-40B4-BE49-F238E27FC236}">
                    <a16:creationId xmlns:a16="http://schemas.microsoft.com/office/drawing/2014/main" id="{8DF44771-0BBE-4ABF-A1A0-4F21168E9496}"/>
                  </a:ext>
                </a:extLst>
              </p:cNvPr>
              <p:cNvSpPr/>
              <p:nvPr/>
            </p:nvSpPr>
            <p:spPr>
              <a:xfrm>
                <a:off x="5734039" y="3718165"/>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9" name="Freeform: Shape 308">
                <a:extLst>
                  <a:ext uri="{FF2B5EF4-FFF2-40B4-BE49-F238E27FC236}">
                    <a16:creationId xmlns:a16="http://schemas.microsoft.com/office/drawing/2014/main" id="{A83A06AC-4FF7-4E63-8018-3EC97686E21C}"/>
                  </a:ext>
                </a:extLst>
              </p:cNvPr>
              <p:cNvSpPr/>
              <p:nvPr/>
            </p:nvSpPr>
            <p:spPr>
              <a:xfrm>
                <a:off x="5793284" y="3718165"/>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0" name="Freeform: Shape 309">
                <a:extLst>
                  <a:ext uri="{FF2B5EF4-FFF2-40B4-BE49-F238E27FC236}">
                    <a16:creationId xmlns:a16="http://schemas.microsoft.com/office/drawing/2014/main" id="{CF2D1DA8-92C8-41E9-B8CA-AA39868CBF09}"/>
                  </a:ext>
                </a:extLst>
              </p:cNvPr>
              <p:cNvSpPr/>
              <p:nvPr/>
            </p:nvSpPr>
            <p:spPr>
              <a:xfrm>
                <a:off x="5852434"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1" name="Freeform: Shape 310">
                <a:extLst>
                  <a:ext uri="{FF2B5EF4-FFF2-40B4-BE49-F238E27FC236}">
                    <a16:creationId xmlns:a16="http://schemas.microsoft.com/office/drawing/2014/main" id="{CE7EB8CC-07A4-47A7-928A-8984C4706850}"/>
                  </a:ext>
                </a:extLst>
              </p:cNvPr>
              <p:cNvSpPr/>
              <p:nvPr/>
            </p:nvSpPr>
            <p:spPr>
              <a:xfrm>
                <a:off x="5911679"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2" name="Freeform: Shape 311">
                <a:extLst>
                  <a:ext uri="{FF2B5EF4-FFF2-40B4-BE49-F238E27FC236}">
                    <a16:creationId xmlns:a16="http://schemas.microsoft.com/office/drawing/2014/main" id="{DD8F57F4-0054-4907-A5A4-FEA9B509AD36}"/>
                  </a:ext>
                </a:extLst>
              </p:cNvPr>
              <p:cNvSpPr/>
              <p:nvPr/>
            </p:nvSpPr>
            <p:spPr>
              <a:xfrm>
                <a:off x="5970829"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3" name="Freeform: Shape 312">
                <a:extLst>
                  <a:ext uri="{FF2B5EF4-FFF2-40B4-BE49-F238E27FC236}">
                    <a16:creationId xmlns:a16="http://schemas.microsoft.com/office/drawing/2014/main" id="{60ED5BA9-E036-40AE-A6CC-0DECB39D5A46}"/>
                  </a:ext>
                </a:extLst>
              </p:cNvPr>
              <p:cNvSpPr/>
              <p:nvPr/>
            </p:nvSpPr>
            <p:spPr>
              <a:xfrm>
                <a:off x="6030074" y="3718165"/>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4" name="Freeform: Shape 313">
                <a:extLst>
                  <a:ext uri="{FF2B5EF4-FFF2-40B4-BE49-F238E27FC236}">
                    <a16:creationId xmlns:a16="http://schemas.microsoft.com/office/drawing/2014/main" id="{0FD10507-E725-4668-A9B2-F1C23A57A161}"/>
                  </a:ext>
                </a:extLst>
              </p:cNvPr>
              <p:cNvSpPr/>
              <p:nvPr/>
            </p:nvSpPr>
            <p:spPr>
              <a:xfrm>
                <a:off x="6089225"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5" name="Freeform: Shape 314">
                <a:extLst>
                  <a:ext uri="{FF2B5EF4-FFF2-40B4-BE49-F238E27FC236}">
                    <a16:creationId xmlns:a16="http://schemas.microsoft.com/office/drawing/2014/main" id="{D1C0A19B-7E91-4068-9AA4-14FA512E22BD}"/>
                  </a:ext>
                </a:extLst>
              </p:cNvPr>
              <p:cNvSpPr/>
              <p:nvPr/>
            </p:nvSpPr>
            <p:spPr>
              <a:xfrm>
                <a:off x="5734040" y="3777410"/>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6" name="Freeform: Shape 315">
                <a:extLst>
                  <a:ext uri="{FF2B5EF4-FFF2-40B4-BE49-F238E27FC236}">
                    <a16:creationId xmlns:a16="http://schemas.microsoft.com/office/drawing/2014/main" id="{280850D2-6E89-4131-9FB7-A009F965BDEB}"/>
                  </a:ext>
                </a:extLst>
              </p:cNvPr>
              <p:cNvSpPr/>
              <p:nvPr/>
            </p:nvSpPr>
            <p:spPr>
              <a:xfrm>
                <a:off x="5793285" y="3777410"/>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7" name="Freeform: Shape 316">
                <a:extLst>
                  <a:ext uri="{FF2B5EF4-FFF2-40B4-BE49-F238E27FC236}">
                    <a16:creationId xmlns:a16="http://schemas.microsoft.com/office/drawing/2014/main" id="{9FE1F233-525B-490D-92CE-E84B86136916}"/>
                  </a:ext>
                </a:extLst>
              </p:cNvPr>
              <p:cNvSpPr/>
              <p:nvPr/>
            </p:nvSpPr>
            <p:spPr>
              <a:xfrm>
                <a:off x="5852436"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8" name="Freeform: Shape 317">
                <a:extLst>
                  <a:ext uri="{FF2B5EF4-FFF2-40B4-BE49-F238E27FC236}">
                    <a16:creationId xmlns:a16="http://schemas.microsoft.com/office/drawing/2014/main" id="{7181D01C-96B5-44C1-A386-30CE0F738E0D}"/>
                  </a:ext>
                </a:extLst>
              </p:cNvPr>
              <p:cNvSpPr/>
              <p:nvPr/>
            </p:nvSpPr>
            <p:spPr>
              <a:xfrm>
                <a:off x="5911683"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9" name="Freeform: Shape 318">
                <a:extLst>
                  <a:ext uri="{FF2B5EF4-FFF2-40B4-BE49-F238E27FC236}">
                    <a16:creationId xmlns:a16="http://schemas.microsoft.com/office/drawing/2014/main" id="{E2B633A1-C30D-4403-AC8F-43AC6B9B7EA1}"/>
                  </a:ext>
                </a:extLst>
              </p:cNvPr>
              <p:cNvSpPr/>
              <p:nvPr/>
            </p:nvSpPr>
            <p:spPr>
              <a:xfrm>
                <a:off x="5970835"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0" name="Freeform: Shape 319">
                <a:extLst>
                  <a:ext uri="{FF2B5EF4-FFF2-40B4-BE49-F238E27FC236}">
                    <a16:creationId xmlns:a16="http://schemas.microsoft.com/office/drawing/2014/main" id="{6A8ADFAF-7B99-4AF5-8AD0-6F6396B1E2AC}"/>
                  </a:ext>
                </a:extLst>
              </p:cNvPr>
              <p:cNvSpPr/>
              <p:nvPr/>
            </p:nvSpPr>
            <p:spPr>
              <a:xfrm>
                <a:off x="6030082" y="3777410"/>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1" name="Freeform: Shape 320">
                <a:extLst>
                  <a:ext uri="{FF2B5EF4-FFF2-40B4-BE49-F238E27FC236}">
                    <a16:creationId xmlns:a16="http://schemas.microsoft.com/office/drawing/2014/main" id="{BF24EED6-9FF6-4D3B-B888-7C128BA748FD}"/>
                  </a:ext>
                </a:extLst>
              </p:cNvPr>
              <p:cNvSpPr/>
              <p:nvPr/>
            </p:nvSpPr>
            <p:spPr>
              <a:xfrm>
                <a:off x="6089231"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2" name="Freeform: Shape 321">
                <a:extLst>
                  <a:ext uri="{FF2B5EF4-FFF2-40B4-BE49-F238E27FC236}">
                    <a16:creationId xmlns:a16="http://schemas.microsoft.com/office/drawing/2014/main" id="{6120BD91-6B39-4427-90EE-7F3AA46700A4}"/>
                  </a:ext>
                </a:extLst>
              </p:cNvPr>
              <p:cNvSpPr/>
              <p:nvPr/>
            </p:nvSpPr>
            <p:spPr>
              <a:xfrm>
                <a:off x="6148476" y="3481374"/>
                <a:ext cx="14097" cy="14096"/>
              </a:xfrm>
              <a:custGeom>
                <a:avLst/>
                <a:gdLst>
                  <a:gd name="connsiteX0" fmla="*/ 14097 w 14097"/>
                  <a:gd name="connsiteY0" fmla="*/ 7049 h 14096"/>
                  <a:gd name="connsiteX1" fmla="*/ 7049 w 14097"/>
                  <a:gd name="connsiteY1" fmla="*/ 14097 h 14096"/>
                  <a:gd name="connsiteX2" fmla="*/ 0 w 14097"/>
                  <a:gd name="connsiteY2" fmla="*/ 7049 h 14096"/>
                  <a:gd name="connsiteX3" fmla="*/ 7049 w 14097"/>
                  <a:gd name="connsiteY3" fmla="*/ 0 h 14096"/>
                  <a:gd name="connsiteX4" fmla="*/ 14097 w 14097"/>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9"/>
                    </a:moveTo>
                    <a:cubicBezTo>
                      <a:pt x="14097" y="10954"/>
                      <a:pt x="10954" y="14097"/>
                      <a:pt x="7049" y="14097"/>
                    </a:cubicBezTo>
                    <a:cubicBezTo>
                      <a:pt x="3143" y="14097"/>
                      <a:pt x="0" y="10954"/>
                      <a:pt x="0" y="7049"/>
                    </a:cubicBezTo>
                    <a:cubicBezTo>
                      <a:pt x="0" y="3143"/>
                      <a:pt x="3143" y="0"/>
                      <a:pt x="7049"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3" name="Freeform: Shape 322">
                <a:extLst>
                  <a:ext uri="{FF2B5EF4-FFF2-40B4-BE49-F238E27FC236}">
                    <a16:creationId xmlns:a16="http://schemas.microsoft.com/office/drawing/2014/main" id="{99BA16F9-242B-4140-BC3F-17E348414733}"/>
                  </a:ext>
                </a:extLst>
              </p:cNvPr>
              <p:cNvSpPr/>
              <p:nvPr/>
            </p:nvSpPr>
            <p:spPr>
              <a:xfrm>
                <a:off x="6207627"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4" name="Freeform: Shape 323">
                <a:extLst>
                  <a:ext uri="{FF2B5EF4-FFF2-40B4-BE49-F238E27FC236}">
                    <a16:creationId xmlns:a16="http://schemas.microsoft.com/office/drawing/2014/main" id="{814ACF54-DEC1-429C-85FA-022FE7302222}"/>
                  </a:ext>
                </a:extLst>
              </p:cNvPr>
              <p:cNvSpPr/>
              <p:nvPr/>
            </p:nvSpPr>
            <p:spPr>
              <a:xfrm>
                <a:off x="6266872" y="3481374"/>
                <a:ext cx="14096" cy="14096"/>
              </a:xfrm>
              <a:custGeom>
                <a:avLst/>
                <a:gdLst>
                  <a:gd name="connsiteX0" fmla="*/ 14097 w 14096"/>
                  <a:gd name="connsiteY0" fmla="*/ 7049 h 14096"/>
                  <a:gd name="connsiteX1" fmla="*/ 7049 w 14096"/>
                  <a:gd name="connsiteY1" fmla="*/ 14097 h 14096"/>
                  <a:gd name="connsiteX2" fmla="*/ 0 w 14096"/>
                  <a:gd name="connsiteY2" fmla="*/ 7049 h 14096"/>
                  <a:gd name="connsiteX3" fmla="*/ 7049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9" y="14097"/>
                    </a:cubicBezTo>
                    <a:cubicBezTo>
                      <a:pt x="3143" y="14097"/>
                      <a:pt x="0" y="10954"/>
                      <a:pt x="0" y="7049"/>
                    </a:cubicBezTo>
                    <a:cubicBezTo>
                      <a:pt x="0" y="3143"/>
                      <a:pt x="3143" y="0"/>
                      <a:pt x="7049" y="0"/>
                    </a:cubicBezTo>
                    <a:cubicBezTo>
                      <a:pt x="10859"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5" name="Freeform: Shape 324">
                <a:extLst>
                  <a:ext uri="{FF2B5EF4-FFF2-40B4-BE49-F238E27FC236}">
                    <a16:creationId xmlns:a16="http://schemas.microsoft.com/office/drawing/2014/main" id="{8E30803D-601A-44AA-8D2C-F89DB4ADF487}"/>
                  </a:ext>
                </a:extLst>
              </p:cNvPr>
              <p:cNvSpPr/>
              <p:nvPr/>
            </p:nvSpPr>
            <p:spPr>
              <a:xfrm>
                <a:off x="6326022"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6" name="Freeform: Shape 325">
                <a:extLst>
                  <a:ext uri="{FF2B5EF4-FFF2-40B4-BE49-F238E27FC236}">
                    <a16:creationId xmlns:a16="http://schemas.microsoft.com/office/drawing/2014/main" id="{4E6EEE87-0C42-4413-8EA5-706C464D32B5}"/>
                  </a:ext>
                </a:extLst>
              </p:cNvPr>
              <p:cNvSpPr/>
              <p:nvPr/>
            </p:nvSpPr>
            <p:spPr>
              <a:xfrm>
                <a:off x="6385268"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858"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7" name="Freeform: Shape 326">
                <a:extLst>
                  <a:ext uri="{FF2B5EF4-FFF2-40B4-BE49-F238E27FC236}">
                    <a16:creationId xmlns:a16="http://schemas.microsoft.com/office/drawing/2014/main" id="{0832DF18-6AAF-4499-8D30-5A79B18EC003}"/>
                  </a:ext>
                </a:extLst>
              </p:cNvPr>
              <p:cNvSpPr/>
              <p:nvPr/>
            </p:nvSpPr>
            <p:spPr>
              <a:xfrm>
                <a:off x="6444417" y="3481373"/>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41"/>
                      <a:pt x="10941" y="14097"/>
                      <a:pt x="7048" y="14097"/>
                    </a:cubicBezTo>
                    <a:cubicBezTo>
                      <a:pt x="3156" y="14097"/>
                      <a:pt x="0" y="10941"/>
                      <a:pt x="0" y="7049"/>
                    </a:cubicBezTo>
                    <a:cubicBezTo>
                      <a:pt x="0" y="3156"/>
                      <a:pt x="3156" y="0"/>
                      <a:pt x="7048"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8" name="Freeform: Shape 327">
                <a:extLst>
                  <a:ext uri="{FF2B5EF4-FFF2-40B4-BE49-F238E27FC236}">
                    <a16:creationId xmlns:a16="http://schemas.microsoft.com/office/drawing/2014/main" id="{4AD66F08-011B-4A20-B1E5-D3A9A35AA4EB}"/>
                  </a:ext>
                </a:extLst>
              </p:cNvPr>
              <p:cNvSpPr/>
              <p:nvPr/>
            </p:nvSpPr>
            <p:spPr>
              <a:xfrm>
                <a:off x="6148476" y="3540622"/>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9" name="Freeform: Shape 328">
                <a:extLst>
                  <a:ext uri="{FF2B5EF4-FFF2-40B4-BE49-F238E27FC236}">
                    <a16:creationId xmlns:a16="http://schemas.microsoft.com/office/drawing/2014/main" id="{BBD23BB3-08F2-47BC-B141-4E6ED9492AA2}"/>
                  </a:ext>
                </a:extLst>
              </p:cNvPr>
              <p:cNvSpPr/>
              <p:nvPr/>
            </p:nvSpPr>
            <p:spPr>
              <a:xfrm>
                <a:off x="6207627" y="354062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0" name="Freeform: Shape 329">
                <a:extLst>
                  <a:ext uri="{FF2B5EF4-FFF2-40B4-BE49-F238E27FC236}">
                    <a16:creationId xmlns:a16="http://schemas.microsoft.com/office/drawing/2014/main" id="{B3CE711A-2069-42C1-98C4-4508B5943F6A}"/>
                  </a:ext>
                </a:extLst>
              </p:cNvPr>
              <p:cNvSpPr/>
              <p:nvPr/>
            </p:nvSpPr>
            <p:spPr>
              <a:xfrm>
                <a:off x="6266872" y="3540626"/>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1" name="Freeform: Shape 330">
                <a:extLst>
                  <a:ext uri="{FF2B5EF4-FFF2-40B4-BE49-F238E27FC236}">
                    <a16:creationId xmlns:a16="http://schemas.microsoft.com/office/drawing/2014/main" id="{26B8F21B-C222-4784-8D4C-7D5D24EA1F38}"/>
                  </a:ext>
                </a:extLst>
              </p:cNvPr>
              <p:cNvSpPr/>
              <p:nvPr/>
            </p:nvSpPr>
            <p:spPr>
              <a:xfrm>
                <a:off x="6326022" y="3540627"/>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2" name="Freeform: Shape 331">
                <a:extLst>
                  <a:ext uri="{FF2B5EF4-FFF2-40B4-BE49-F238E27FC236}">
                    <a16:creationId xmlns:a16="http://schemas.microsoft.com/office/drawing/2014/main" id="{58C4C653-04CF-45EA-92F4-3B76B0AA9719}"/>
                  </a:ext>
                </a:extLst>
              </p:cNvPr>
              <p:cNvSpPr/>
              <p:nvPr/>
            </p:nvSpPr>
            <p:spPr>
              <a:xfrm>
                <a:off x="6385268" y="354063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3" name="Freeform: Shape 332">
                <a:extLst>
                  <a:ext uri="{FF2B5EF4-FFF2-40B4-BE49-F238E27FC236}">
                    <a16:creationId xmlns:a16="http://schemas.microsoft.com/office/drawing/2014/main" id="{755FD61D-1008-46FD-86B1-4F633814A453}"/>
                  </a:ext>
                </a:extLst>
              </p:cNvPr>
              <p:cNvSpPr/>
              <p:nvPr/>
            </p:nvSpPr>
            <p:spPr>
              <a:xfrm>
                <a:off x="6444417" y="3540631"/>
                <a:ext cx="14096" cy="14097"/>
              </a:xfrm>
              <a:custGeom>
                <a:avLst/>
                <a:gdLst>
                  <a:gd name="connsiteX0" fmla="*/ 14097 w 14096"/>
                  <a:gd name="connsiteY0" fmla="*/ 7048 h 14097"/>
                  <a:gd name="connsiteX1" fmla="*/ 7048 w 14096"/>
                  <a:gd name="connsiteY1" fmla="*/ 14097 h 14097"/>
                  <a:gd name="connsiteX2" fmla="*/ 0 w 14096"/>
                  <a:gd name="connsiteY2" fmla="*/ 7048 h 14097"/>
                  <a:gd name="connsiteX3" fmla="*/ 7048 w 14096"/>
                  <a:gd name="connsiteY3" fmla="*/ 0 h 14097"/>
                  <a:gd name="connsiteX4" fmla="*/ 14097 w 14096"/>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8"/>
                    </a:moveTo>
                    <a:cubicBezTo>
                      <a:pt x="14097" y="10941"/>
                      <a:pt x="10941" y="14097"/>
                      <a:pt x="7048" y="14097"/>
                    </a:cubicBezTo>
                    <a:cubicBezTo>
                      <a:pt x="3156" y="14097"/>
                      <a:pt x="0" y="10941"/>
                      <a:pt x="0" y="7048"/>
                    </a:cubicBezTo>
                    <a:cubicBezTo>
                      <a:pt x="0" y="3156"/>
                      <a:pt x="3156" y="0"/>
                      <a:pt x="7048"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4" name="Freeform: Shape 333">
                <a:extLst>
                  <a:ext uri="{FF2B5EF4-FFF2-40B4-BE49-F238E27FC236}">
                    <a16:creationId xmlns:a16="http://schemas.microsoft.com/office/drawing/2014/main" id="{A3DBC891-2610-4AC1-B1D3-806E504EF435}"/>
                  </a:ext>
                </a:extLst>
              </p:cNvPr>
              <p:cNvSpPr/>
              <p:nvPr/>
            </p:nvSpPr>
            <p:spPr>
              <a:xfrm>
                <a:off x="6148476" y="3599781"/>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5" name="Freeform: Shape 334">
                <a:extLst>
                  <a:ext uri="{FF2B5EF4-FFF2-40B4-BE49-F238E27FC236}">
                    <a16:creationId xmlns:a16="http://schemas.microsoft.com/office/drawing/2014/main" id="{4D9F77CB-AC06-45E2-B791-BA0A7FC6A6C5}"/>
                  </a:ext>
                </a:extLst>
              </p:cNvPr>
              <p:cNvSpPr/>
              <p:nvPr/>
            </p:nvSpPr>
            <p:spPr>
              <a:xfrm>
                <a:off x="6207627" y="359978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6" name="Freeform: Shape 335">
                <a:extLst>
                  <a:ext uri="{FF2B5EF4-FFF2-40B4-BE49-F238E27FC236}">
                    <a16:creationId xmlns:a16="http://schemas.microsoft.com/office/drawing/2014/main" id="{9006458F-4478-468F-ADDA-3A1A260F2798}"/>
                  </a:ext>
                </a:extLst>
              </p:cNvPr>
              <p:cNvSpPr/>
              <p:nvPr/>
            </p:nvSpPr>
            <p:spPr>
              <a:xfrm>
                <a:off x="6266872" y="3599781"/>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7" name="Freeform: Shape 336">
                <a:extLst>
                  <a:ext uri="{FF2B5EF4-FFF2-40B4-BE49-F238E27FC236}">
                    <a16:creationId xmlns:a16="http://schemas.microsoft.com/office/drawing/2014/main" id="{366818E9-6C2E-4220-8542-BD64F8B7EE81}"/>
                  </a:ext>
                </a:extLst>
              </p:cNvPr>
              <p:cNvSpPr/>
              <p:nvPr/>
            </p:nvSpPr>
            <p:spPr>
              <a:xfrm>
                <a:off x="6326022" y="359978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8" name="Freeform: Shape 337">
                <a:extLst>
                  <a:ext uri="{FF2B5EF4-FFF2-40B4-BE49-F238E27FC236}">
                    <a16:creationId xmlns:a16="http://schemas.microsoft.com/office/drawing/2014/main" id="{BD7BF3C8-FAD3-44BA-A91A-7FCE6DCE83E9}"/>
                  </a:ext>
                </a:extLst>
              </p:cNvPr>
              <p:cNvSpPr/>
              <p:nvPr/>
            </p:nvSpPr>
            <p:spPr>
              <a:xfrm>
                <a:off x="6385268" y="359978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9" name="Freeform: Shape 338">
                <a:extLst>
                  <a:ext uri="{FF2B5EF4-FFF2-40B4-BE49-F238E27FC236}">
                    <a16:creationId xmlns:a16="http://schemas.microsoft.com/office/drawing/2014/main" id="{A675950D-FE3F-4100-8304-02525FC59CA4}"/>
                  </a:ext>
                </a:extLst>
              </p:cNvPr>
              <p:cNvSpPr/>
              <p:nvPr/>
            </p:nvSpPr>
            <p:spPr>
              <a:xfrm>
                <a:off x="6444417" y="3599782"/>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0" name="Freeform: Shape 339">
                <a:extLst>
                  <a:ext uri="{FF2B5EF4-FFF2-40B4-BE49-F238E27FC236}">
                    <a16:creationId xmlns:a16="http://schemas.microsoft.com/office/drawing/2014/main" id="{67959628-A9E4-4868-B5C4-02A208D9EABC}"/>
                  </a:ext>
                </a:extLst>
              </p:cNvPr>
              <p:cNvSpPr/>
              <p:nvPr/>
            </p:nvSpPr>
            <p:spPr>
              <a:xfrm>
                <a:off x="6148476" y="3659026"/>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1" name="Freeform: Shape 340">
                <a:extLst>
                  <a:ext uri="{FF2B5EF4-FFF2-40B4-BE49-F238E27FC236}">
                    <a16:creationId xmlns:a16="http://schemas.microsoft.com/office/drawing/2014/main" id="{ADECC7F1-0F45-486A-A990-EB276BB3384F}"/>
                  </a:ext>
                </a:extLst>
              </p:cNvPr>
              <p:cNvSpPr/>
              <p:nvPr/>
            </p:nvSpPr>
            <p:spPr>
              <a:xfrm>
                <a:off x="6207627"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2" name="Freeform: Shape 341">
                <a:extLst>
                  <a:ext uri="{FF2B5EF4-FFF2-40B4-BE49-F238E27FC236}">
                    <a16:creationId xmlns:a16="http://schemas.microsoft.com/office/drawing/2014/main" id="{1245F143-DC77-4399-A4A7-A1F3B3918032}"/>
                  </a:ext>
                </a:extLst>
              </p:cNvPr>
              <p:cNvSpPr/>
              <p:nvPr/>
            </p:nvSpPr>
            <p:spPr>
              <a:xfrm>
                <a:off x="6266872" y="3659026"/>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3" name="Freeform: Shape 342">
                <a:extLst>
                  <a:ext uri="{FF2B5EF4-FFF2-40B4-BE49-F238E27FC236}">
                    <a16:creationId xmlns:a16="http://schemas.microsoft.com/office/drawing/2014/main" id="{475F08F8-55E9-4206-9AAE-E916FC31406E}"/>
                  </a:ext>
                </a:extLst>
              </p:cNvPr>
              <p:cNvSpPr/>
              <p:nvPr/>
            </p:nvSpPr>
            <p:spPr>
              <a:xfrm>
                <a:off x="6326022"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4" name="Freeform: Shape 343">
                <a:extLst>
                  <a:ext uri="{FF2B5EF4-FFF2-40B4-BE49-F238E27FC236}">
                    <a16:creationId xmlns:a16="http://schemas.microsoft.com/office/drawing/2014/main" id="{B161936D-1B88-4DE0-9773-06D8E71E803C}"/>
                  </a:ext>
                </a:extLst>
              </p:cNvPr>
              <p:cNvSpPr/>
              <p:nvPr/>
            </p:nvSpPr>
            <p:spPr>
              <a:xfrm>
                <a:off x="6385268"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5" name="Freeform: Shape 344">
                <a:extLst>
                  <a:ext uri="{FF2B5EF4-FFF2-40B4-BE49-F238E27FC236}">
                    <a16:creationId xmlns:a16="http://schemas.microsoft.com/office/drawing/2014/main" id="{D9EA60CC-AC1F-49D4-94B1-48FD127B43A7}"/>
                  </a:ext>
                </a:extLst>
              </p:cNvPr>
              <p:cNvSpPr/>
              <p:nvPr/>
            </p:nvSpPr>
            <p:spPr>
              <a:xfrm>
                <a:off x="6444417"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6" name="Freeform: Shape 345">
                <a:extLst>
                  <a:ext uri="{FF2B5EF4-FFF2-40B4-BE49-F238E27FC236}">
                    <a16:creationId xmlns:a16="http://schemas.microsoft.com/office/drawing/2014/main" id="{56AE36DF-ED72-4751-A123-9AD7BA0CEEE0}"/>
                  </a:ext>
                </a:extLst>
              </p:cNvPr>
              <p:cNvSpPr/>
              <p:nvPr/>
            </p:nvSpPr>
            <p:spPr>
              <a:xfrm>
                <a:off x="6148476" y="3718177"/>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7" name="Freeform: Shape 346">
                <a:extLst>
                  <a:ext uri="{FF2B5EF4-FFF2-40B4-BE49-F238E27FC236}">
                    <a16:creationId xmlns:a16="http://schemas.microsoft.com/office/drawing/2014/main" id="{856DA2E5-CBAE-4B4F-A30B-DFC1EE9B592C}"/>
                  </a:ext>
                </a:extLst>
              </p:cNvPr>
              <p:cNvSpPr/>
              <p:nvPr/>
            </p:nvSpPr>
            <p:spPr>
              <a:xfrm>
                <a:off x="6207627" y="3718177"/>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8" name="Freeform: Shape 347">
                <a:extLst>
                  <a:ext uri="{FF2B5EF4-FFF2-40B4-BE49-F238E27FC236}">
                    <a16:creationId xmlns:a16="http://schemas.microsoft.com/office/drawing/2014/main" id="{5E60101A-81EF-48E2-B67D-EB8847278D98}"/>
                  </a:ext>
                </a:extLst>
              </p:cNvPr>
              <p:cNvSpPr/>
              <p:nvPr/>
            </p:nvSpPr>
            <p:spPr>
              <a:xfrm>
                <a:off x="6266872" y="3718177"/>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9" name="Freeform: Shape 348">
                <a:extLst>
                  <a:ext uri="{FF2B5EF4-FFF2-40B4-BE49-F238E27FC236}">
                    <a16:creationId xmlns:a16="http://schemas.microsoft.com/office/drawing/2014/main" id="{623BF631-A52C-4AAD-B012-1FD678A1F657}"/>
                  </a:ext>
                </a:extLst>
              </p:cNvPr>
              <p:cNvSpPr/>
              <p:nvPr/>
            </p:nvSpPr>
            <p:spPr>
              <a:xfrm>
                <a:off x="6326022" y="3718177"/>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50" name="Freeform: Shape 349">
                <a:extLst>
                  <a:ext uri="{FF2B5EF4-FFF2-40B4-BE49-F238E27FC236}">
                    <a16:creationId xmlns:a16="http://schemas.microsoft.com/office/drawing/2014/main" id="{3BA8C092-E3E4-4EA7-A73A-3BB13B493E2D}"/>
                  </a:ext>
                </a:extLst>
              </p:cNvPr>
              <p:cNvSpPr/>
              <p:nvPr/>
            </p:nvSpPr>
            <p:spPr>
              <a:xfrm>
                <a:off x="6385268" y="3718172"/>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51" name="Freeform: Shape 350">
                <a:extLst>
                  <a:ext uri="{FF2B5EF4-FFF2-40B4-BE49-F238E27FC236}">
                    <a16:creationId xmlns:a16="http://schemas.microsoft.com/office/drawing/2014/main" id="{E4D5F4C5-FFAD-41D1-9E66-8DEA9AE3C68A}"/>
                  </a:ext>
                </a:extLst>
              </p:cNvPr>
              <p:cNvSpPr/>
              <p:nvPr/>
            </p:nvSpPr>
            <p:spPr>
              <a:xfrm>
                <a:off x="6444417" y="371817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52" name="Freeform: Shape 351">
                <a:extLst>
                  <a:ext uri="{FF2B5EF4-FFF2-40B4-BE49-F238E27FC236}">
                    <a16:creationId xmlns:a16="http://schemas.microsoft.com/office/drawing/2014/main" id="{1B80E2AD-D598-4076-9A70-3FF60D761AAE}"/>
                  </a:ext>
                </a:extLst>
              </p:cNvPr>
              <p:cNvSpPr/>
              <p:nvPr/>
            </p:nvSpPr>
            <p:spPr>
              <a:xfrm>
                <a:off x="6148472" y="3777419"/>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53" name="Freeform: Shape 352">
                <a:extLst>
                  <a:ext uri="{FF2B5EF4-FFF2-40B4-BE49-F238E27FC236}">
                    <a16:creationId xmlns:a16="http://schemas.microsoft.com/office/drawing/2014/main" id="{1E139F40-06E7-4E2F-A479-392BC2D27152}"/>
                  </a:ext>
                </a:extLst>
              </p:cNvPr>
              <p:cNvSpPr/>
              <p:nvPr/>
            </p:nvSpPr>
            <p:spPr>
              <a:xfrm>
                <a:off x="6207622" y="3777419"/>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54" name="Freeform: Shape 353">
                <a:extLst>
                  <a:ext uri="{FF2B5EF4-FFF2-40B4-BE49-F238E27FC236}">
                    <a16:creationId xmlns:a16="http://schemas.microsoft.com/office/drawing/2014/main" id="{57B33B74-723F-44E4-8CF7-F68B6BBEE243}"/>
                  </a:ext>
                </a:extLst>
              </p:cNvPr>
              <p:cNvSpPr/>
              <p:nvPr/>
            </p:nvSpPr>
            <p:spPr>
              <a:xfrm>
                <a:off x="6266868" y="3777419"/>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55" name="Freeform: Shape 354">
                <a:extLst>
                  <a:ext uri="{FF2B5EF4-FFF2-40B4-BE49-F238E27FC236}">
                    <a16:creationId xmlns:a16="http://schemas.microsoft.com/office/drawing/2014/main" id="{3300C380-880A-440E-AD73-941A859A69BF}"/>
                  </a:ext>
                </a:extLst>
              </p:cNvPr>
              <p:cNvSpPr/>
              <p:nvPr/>
            </p:nvSpPr>
            <p:spPr>
              <a:xfrm>
                <a:off x="6326024" y="3777383"/>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56" name="Freeform: Shape 355">
                <a:extLst>
                  <a:ext uri="{FF2B5EF4-FFF2-40B4-BE49-F238E27FC236}">
                    <a16:creationId xmlns:a16="http://schemas.microsoft.com/office/drawing/2014/main" id="{8649CE7C-4F6C-4C19-9A37-881B022144B8}"/>
                  </a:ext>
                </a:extLst>
              </p:cNvPr>
              <p:cNvSpPr/>
              <p:nvPr/>
            </p:nvSpPr>
            <p:spPr>
              <a:xfrm>
                <a:off x="6385287" y="3777429"/>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57" name="Freeform: Shape 356">
                <a:extLst>
                  <a:ext uri="{FF2B5EF4-FFF2-40B4-BE49-F238E27FC236}">
                    <a16:creationId xmlns:a16="http://schemas.microsoft.com/office/drawing/2014/main" id="{88A320C2-A1D9-4FC0-89CA-B951E12B32C0}"/>
                  </a:ext>
                </a:extLst>
              </p:cNvPr>
              <p:cNvSpPr/>
              <p:nvPr/>
            </p:nvSpPr>
            <p:spPr>
              <a:xfrm>
                <a:off x="6444424" y="377742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41"/>
                      <a:pt x="10941" y="14097"/>
                      <a:pt x="7048" y="14097"/>
                    </a:cubicBezTo>
                    <a:cubicBezTo>
                      <a:pt x="3156" y="14097"/>
                      <a:pt x="0" y="10941"/>
                      <a:pt x="0" y="7048"/>
                    </a:cubicBezTo>
                    <a:cubicBezTo>
                      <a:pt x="0" y="3156"/>
                      <a:pt x="3156" y="0"/>
                      <a:pt x="7048"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grpSp>
        <p:grpSp>
          <p:nvGrpSpPr>
            <p:cNvPr id="19" name="Graphic 4">
              <a:extLst>
                <a:ext uri="{FF2B5EF4-FFF2-40B4-BE49-F238E27FC236}">
                  <a16:creationId xmlns:a16="http://schemas.microsoft.com/office/drawing/2014/main" id="{723EE676-95B0-40B5-BB3B-183555D2F1A1}"/>
                </a:ext>
              </a:extLst>
            </p:cNvPr>
            <p:cNvGrpSpPr/>
            <p:nvPr/>
          </p:nvGrpSpPr>
          <p:grpSpPr>
            <a:xfrm>
              <a:off x="10154386" y="4452483"/>
              <a:ext cx="1443404" cy="1443418"/>
              <a:chOff x="5734037" y="3067039"/>
              <a:chExt cx="724483" cy="724489"/>
            </a:xfrm>
            <a:grpFill/>
          </p:grpSpPr>
          <p:sp>
            <p:nvSpPr>
              <p:cNvPr id="20" name="Freeform: Shape 19">
                <a:extLst>
                  <a:ext uri="{FF2B5EF4-FFF2-40B4-BE49-F238E27FC236}">
                    <a16:creationId xmlns:a16="http://schemas.microsoft.com/office/drawing/2014/main" id="{13EE9E24-328D-4967-A7D6-9AD696D5C918}"/>
                  </a:ext>
                </a:extLst>
              </p:cNvPr>
              <p:cNvSpPr/>
              <p:nvPr/>
            </p:nvSpPr>
            <p:spPr>
              <a:xfrm>
                <a:off x="5734038" y="3067039"/>
                <a:ext cx="14192" cy="14097"/>
              </a:xfrm>
              <a:custGeom>
                <a:avLst/>
                <a:gdLst>
                  <a:gd name="connsiteX0" fmla="*/ 14192 w 14192"/>
                  <a:gd name="connsiteY0" fmla="*/ 7049 h 14097"/>
                  <a:gd name="connsiteX1" fmla="*/ 7144 w 14192"/>
                  <a:gd name="connsiteY1" fmla="*/ 14097 h 14097"/>
                  <a:gd name="connsiteX2" fmla="*/ 0 w 14192"/>
                  <a:gd name="connsiteY2" fmla="*/ 7049 h 14097"/>
                  <a:gd name="connsiteX3" fmla="*/ 7049 w 14192"/>
                  <a:gd name="connsiteY3" fmla="*/ 0 h 14097"/>
                  <a:gd name="connsiteX4" fmla="*/ 14192 w 14192"/>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7">
                    <a:moveTo>
                      <a:pt x="14192" y="7049"/>
                    </a:moveTo>
                    <a:cubicBezTo>
                      <a:pt x="14192" y="10954"/>
                      <a:pt x="11049" y="14097"/>
                      <a:pt x="7144" y="14097"/>
                    </a:cubicBezTo>
                    <a:cubicBezTo>
                      <a:pt x="3239" y="14097"/>
                      <a:pt x="0" y="10954"/>
                      <a:pt x="0" y="7049"/>
                    </a:cubicBezTo>
                    <a:cubicBezTo>
                      <a:pt x="0" y="3143"/>
                      <a:pt x="3143" y="0"/>
                      <a:pt x="7049" y="0"/>
                    </a:cubicBezTo>
                    <a:cubicBezTo>
                      <a:pt x="10954" y="0"/>
                      <a:pt x="14192" y="3143"/>
                      <a:pt x="14192"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 name="Freeform: Shape 20">
                <a:extLst>
                  <a:ext uri="{FF2B5EF4-FFF2-40B4-BE49-F238E27FC236}">
                    <a16:creationId xmlns:a16="http://schemas.microsoft.com/office/drawing/2014/main" id="{7F066982-3E06-46AC-8C85-3AA30F5EFDB9}"/>
                  </a:ext>
                </a:extLst>
              </p:cNvPr>
              <p:cNvSpPr/>
              <p:nvPr/>
            </p:nvSpPr>
            <p:spPr>
              <a:xfrm>
                <a:off x="5793283" y="3067039"/>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 name="Freeform: Shape 21">
                <a:extLst>
                  <a:ext uri="{FF2B5EF4-FFF2-40B4-BE49-F238E27FC236}">
                    <a16:creationId xmlns:a16="http://schemas.microsoft.com/office/drawing/2014/main" id="{E699AAE6-74C2-4138-8B31-465764562509}"/>
                  </a:ext>
                </a:extLst>
              </p:cNvPr>
              <p:cNvSpPr/>
              <p:nvPr/>
            </p:nvSpPr>
            <p:spPr>
              <a:xfrm>
                <a:off x="5852433"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 name="Freeform: Shape 22">
                <a:extLst>
                  <a:ext uri="{FF2B5EF4-FFF2-40B4-BE49-F238E27FC236}">
                    <a16:creationId xmlns:a16="http://schemas.microsoft.com/office/drawing/2014/main" id="{2FB875D4-122F-435D-8C34-5FA4B0BBE089}"/>
                  </a:ext>
                </a:extLst>
              </p:cNvPr>
              <p:cNvSpPr/>
              <p:nvPr/>
            </p:nvSpPr>
            <p:spPr>
              <a:xfrm>
                <a:off x="5911678"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 name="Freeform: Shape 23">
                <a:extLst>
                  <a:ext uri="{FF2B5EF4-FFF2-40B4-BE49-F238E27FC236}">
                    <a16:creationId xmlns:a16="http://schemas.microsoft.com/office/drawing/2014/main" id="{A1E1023F-42A9-42FC-86FB-4730DD3158D0}"/>
                  </a:ext>
                </a:extLst>
              </p:cNvPr>
              <p:cNvSpPr/>
              <p:nvPr/>
            </p:nvSpPr>
            <p:spPr>
              <a:xfrm>
                <a:off x="5970828"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 name="Freeform: Shape 24">
                <a:extLst>
                  <a:ext uri="{FF2B5EF4-FFF2-40B4-BE49-F238E27FC236}">
                    <a16:creationId xmlns:a16="http://schemas.microsoft.com/office/drawing/2014/main" id="{219FA068-A7DA-424C-81C0-CCA59AFF2910}"/>
                  </a:ext>
                </a:extLst>
              </p:cNvPr>
              <p:cNvSpPr/>
              <p:nvPr/>
            </p:nvSpPr>
            <p:spPr>
              <a:xfrm>
                <a:off x="6030074" y="3067039"/>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6" name="Freeform: Shape 25">
                <a:extLst>
                  <a:ext uri="{FF2B5EF4-FFF2-40B4-BE49-F238E27FC236}">
                    <a16:creationId xmlns:a16="http://schemas.microsoft.com/office/drawing/2014/main" id="{76050C48-FA99-47E4-9729-B386AD54EA47}"/>
                  </a:ext>
                </a:extLst>
              </p:cNvPr>
              <p:cNvSpPr/>
              <p:nvPr/>
            </p:nvSpPr>
            <p:spPr>
              <a:xfrm>
                <a:off x="6089224"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7" name="Freeform: Shape 26">
                <a:extLst>
                  <a:ext uri="{FF2B5EF4-FFF2-40B4-BE49-F238E27FC236}">
                    <a16:creationId xmlns:a16="http://schemas.microsoft.com/office/drawing/2014/main" id="{A327ECE9-CE51-4C29-9AFB-D740BC96774A}"/>
                  </a:ext>
                </a:extLst>
              </p:cNvPr>
              <p:cNvSpPr/>
              <p:nvPr/>
            </p:nvSpPr>
            <p:spPr>
              <a:xfrm>
                <a:off x="5734038" y="3126284"/>
                <a:ext cx="14192" cy="14097"/>
              </a:xfrm>
              <a:custGeom>
                <a:avLst/>
                <a:gdLst>
                  <a:gd name="connsiteX0" fmla="*/ 14192 w 14192"/>
                  <a:gd name="connsiteY0" fmla="*/ 7049 h 14097"/>
                  <a:gd name="connsiteX1" fmla="*/ 7144 w 14192"/>
                  <a:gd name="connsiteY1" fmla="*/ 14097 h 14097"/>
                  <a:gd name="connsiteX2" fmla="*/ 0 w 14192"/>
                  <a:gd name="connsiteY2" fmla="*/ 7049 h 14097"/>
                  <a:gd name="connsiteX3" fmla="*/ 7049 w 14192"/>
                  <a:gd name="connsiteY3" fmla="*/ 0 h 14097"/>
                  <a:gd name="connsiteX4" fmla="*/ 14192 w 14192"/>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7">
                    <a:moveTo>
                      <a:pt x="14192" y="7049"/>
                    </a:moveTo>
                    <a:cubicBezTo>
                      <a:pt x="14192" y="10954"/>
                      <a:pt x="11049" y="14097"/>
                      <a:pt x="7144" y="14097"/>
                    </a:cubicBezTo>
                    <a:cubicBezTo>
                      <a:pt x="3239" y="14097"/>
                      <a:pt x="0" y="10954"/>
                      <a:pt x="0" y="7049"/>
                    </a:cubicBezTo>
                    <a:cubicBezTo>
                      <a:pt x="0" y="3143"/>
                      <a:pt x="3143" y="0"/>
                      <a:pt x="7049" y="0"/>
                    </a:cubicBezTo>
                    <a:cubicBezTo>
                      <a:pt x="10954" y="0"/>
                      <a:pt x="14192" y="3143"/>
                      <a:pt x="14192"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8" name="Freeform: Shape 27">
                <a:extLst>
                  <a:ext uri="{FF2B5EF4-FFF2-40B4-BE49-F238E27FC236}">
                    <a16:creationId xmlns:a16="http://schemas.microsoft.com/office/drawing/2014/main" id="{3314F941-FE16-4684-AD11-40031407E28F}"/>
                  </a:ext>
                </a:extLst>
              </p:cNvPr>
              <p:cNvSpPr/>
              <p:nvPr/>
            </p:nvSpPr>
            <p:spPr>
              <a:xfrm>
                <a:off x="5793283" y="3126282"/>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9" name="Freeform: Shape 28">
                <a:extLst>
                  <a:ext uri="{FF2B5EF4-FFF2-40B4-BE49-F238E27FC236}">
                    <a16:creationId xmlns:a16="http://schemas.microsoft.com/office/drawing/2014/main" id="{A12ED5B2-85E7-4C0F-911D-84166633F6CF}"/>
                  </a:ext>
                </a:extLst>
              </p:cNvPr>
              <p:cNvSpPr/>
              <p:nvPr/>
            </p:nvSpPr>
            <p:spPr>
              <a:xfrm>
                <a:off x="5852433"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 name="Freeform: Shape 29">
                <a:extLst>
                  <a:ext uri="{FF2B5EF4-FFF2-40B4-BE49-F238E27FC236}">
                    <a16:creationId xmlns:a16="http://schemas.microsoft.com/office/drawing/2014/main" id="{E16B5A61-8CFF-4FDF-9B21-09C8297A4DAB}"/>
                  </a:ext>
                </a:extLst>
              </p:cNvPr>
              <p:cNvSpPr/>
              <p:nvPr/>
            </p:nvSpPr>
            <p:spPr>
              <a:xfrm>
                <a:off x="5911678"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 name="Freeform: Shape 30">
                <a:extLst>
                  <a:ext uri="{FF2B5EF4-FFF2-40B4-BE49-F238E27FC236}">
                    <a16:creationId xmlns:a16="http://schemas.microsoft.com/office/drawing/2014/main" id="{CE0A8595-93E1-4499-86A8-9B43B07C11D1}"/>
                  </a:ext>
                </a:extLst>
              </p:cNvPr>
              <p:cNvSpPr/>
              <p:nvPr/>
            </p:nvSpPr>
            <p:spPr>
              <a:xfrm>
                <a:off x="5970828"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 name="Freeform: Shape 31">
                <a:extLst>
                  <a:ext uri="{FF2B5EF4-FFF2-40B4-BE49-F238E27FC236}">
                    <a16:creationId xmlns:a16="http://schemas.microsoft.com/office/drawing/2014/main" id="{2C380735-19C3-47FA-978D-3E9904679374}"/>
                  </a:ext>
                </a:extLst>
              </p:cNvPr>
              <p:cNvSpPr/>
              <p:nvPr/>
            </p:nvSpPr>
            <p:spPr>
              <a:xfrm>
                <a:off x="6030073" y="3126284"/>
                <a:ext cx="14097" cy="14097"/>
              </a:xfrm>
              <a:custGeom>
                <a:avLst/>
                <a:gdLst>
                  <a:gd name="connsiteX0" fmla="*/ 14097 w 14097"/>
                  <a:gd name="connsiteY0" fmla="*/ 7049 h 14097"/>
                  <a:gd name="connsiteX1" fmla="*/ 7048 w 14097"/>
                  <a:gd name="connsiteY1" fmla="*/ 14097 h 14097"/>
                  <a:gd name="connsiteX2" fmla="*/ 0 w 14097"/>
                  <a:gd name="connsiteY2" fmla="*/ 7049 h 14097"/>
                  <a:gd name="connsiteX3" fmla="*/ 7048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 name="Freeform: Shape 32">
                <a:extLst>
                  <a:ext uri="{FF2B5EF4-FFF2-40B4-BE49-F238E27FC236}">
                    <a16:creationId xmlns:a16="http://schemas.microsoft.com/office/drawing/2014/main" id="{CA6B2F2B-1750-4093-AD58-D2AA9CF8266F}"/>
                  </a:ext>
                </a:extLst>
              </p:cNvPr>
              <p:cNvSpPr/>
              <p:nvPr/>
            </p:nvSpPr>
            <p:spPr>
              <a:xfrm>
                <a:off x="6089224"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4" name="Freeform: Shape 33">
                <a:extLst>
                  <a:ext uri="{FF2B5EF4-FFF2-40B4-BE49-F238E27FC236}">
                    <a16:creationId xmlns:a16="http://schemas.microsoft.com/office/drawing/2014/main" id="{AB32A52B-3F30-43A0-88FD-9AB3DD78B034}"/>
                  </a:ext>
                </a:extLst>
              </p:cNvPr>
              <p:cNvSpPr/>
              <p:nvPr/>
            </p:nvSpPr>
            <p:spPr>
              <a:xfrm>
                <a:off x="5734038" y="3185434"/>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5" name="Freeform: Shape 34">
                <a:extLst>
                  <a:ext uri="{FF2B5EF4-FFF2-40B4-BE49-F238E27FC236}">
                    <a16:creationId xmlns:a16="http://schemas.microsoft.com/office/drawing/2014/main" id="{C94B2563-F4BE-4780-ABE8-8359DBB2371F}"/>
                  </a:ext>
                </a:extLst>
              </p:cNvPr>
              <p:cNvSpPr/>
              <p:nvPr/>
            </p:nvSpPr>
            <p:spPr>
              <a:xfrm>
                <a:off x="5793283" y="318543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6" name="Freeform: Shape 35">
                <a:extLst>
                  <a:ext uri="{FF2B5EF4-FFF2-40B4-BE49-F238E27FC236}">
                    <a16:creationId xmlns:a16="http://schemas.microsoft.com/office/drawing/2014/main" id="{372DFDDB-1231-49CA-84CA-E4BE438A3182}"/>
                  </a:ext>
                </a:extLst>
              </p:cNvPr>
              <p:cNvSpPr/>
              <p:nvPr/>
            </p:nvSpPr>
            <p:spPr>
              <a:xfrm>
                <a:off x="5852433"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7" name="Freeform: Shape 36">
                <a:extLst>
                  <a:ext uri="{FF2B5EF4-FFF2-40B4-BE49-F238E27FC236}">
                    <a16:creationId xmlns:a16="http://schemas.microsoft.com/office/drawing/2014/main" id="{930DEA24-357A-4CE2-A894-9CC59149E6BB}"/>
                  </a:ext>
                </a:extLst>
              </p:cNvPr>
              <p:cNvSpPr/>
              <p:nvPr/>
            </p:nvSpPr>
            <p:spPr>
              <a:xfrm>
                <a:off x="5911678"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8" name="Freeform: Shape 37">
                <a:extLst>
                  <a:ext uri="{FF2B5EF4-FFF2-40B4-BE49-F238E27FC236}">
                    <a16:creationId xmlns:a16="http://schemas.microsoft.com/office/drawing/2014/main" id="{5334C62D-A806-464B-86FF-63BA4B4B7DB0}"/>
                  </a:ext>
                </a:extLst>
              </p:cNvPr>
              <p:cNvSpPr/>
              <p:nvPr/>
            </p:nvSpPr>
            <p:spPr>
              <a:xfrm>
                <a:off x="5970828"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9" name="Freeform: Shape 38">
                <a:extLst>
                  <a:ext uri="{FF2B5EF4-FFF2-40B4-BE49-F238E27FC236}">
                    <a16:creationId xmlns:a16="http://schemas.microsoft.com/office/drawing/2014/main" id="{DC0AE61D-5513-4496-AF95-4F1FA2D368B3}"/>
                  </a:ext>
                </a:extLst>
              </p:cNvPr>
              <p:cNvSpPr/>
              <p:nvPr/>
            </p:nvSpPr>
            <p:spPr>
              <a:xfrm>
                <a:off x="6030074" y="318543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0" name="Freeform: Shape 39">
                <a:extLst>
                  <a:ext uri="{FF2B5EF4-FFF2-40B4-BE49-F238E27FC236}">
                    <a16:creationId xmlns:a16="http://schemas.microsoft.com/office/drawing/2014/main" id="{7D604D00-5107-4CA5-8461-DBF2520C1636}"/>
                  </a:ext>
                </a:extLst>
              </p:cNvPr>
              <p:cNvSpPr/>
              <p:nvPr/>
            </p:nvSpPr>
            <p:spPr>
              <a:xfrm>
                <a:off x="6089224"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1" name="Freeform: Shape 40">
                <a:extLst>
                  <a:ext uri="{FF2B5EF4-FFF2-40B4-BE49-F238E27FC236}">
                    <a16:creationId xmlns:a16="http://schemas.microsoft.com/office/drawing/2014/main" id="{ABF1B949-6E40-46C3-BCE9-DA2A24C5D2AF}"/>
                  </a:ext>
                </a:extLst>
              </p:cNvPr>
              <p:cNvSpPr/>
              <p:nvPr/>
            </p:nvSpPr>
            <p:spPr>
              <a:xfrm>
                <a:off x="5734038" y="3244679"/>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2" name="Freeform: Shape 41">
                <a:extLst>
                  <a:ext uri="{FF2B5EF4-FFF2-40B4-BE49-F238E27FC236}">
                    <a16:creationId xmlns:a16="http://schemas.microsoft.com/office/drawing/2014/main" id="{9C0D9DE4-3D59-4B4F-8054-99080988D424}"/>
                  </a:ext>
                </a:extLst>
              </p:cNvPr>
              <p:cNvSpPr/>
              <p:nvPr/>
            </p:nvSpPr>
            <p:spPr>
              <a:xfrm>
                <a:off x="5793283" y="3244677"/>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3" name="Freeform: Shape 42">
                <a:extLst>
                  <a:ext uri="{FF2B5EF4-FFF2-40B4-BE49-F238E27FC236}">
                    <a16:creationId xmlns:a16="http://schemas.microsoft.com/office/drawing/2014/main" id="{DF2EC95B-927F-4B94-B878-CD68D0DC4E24}"/>
                  </a:ext>
                </a:extLst>
              </p:cNvPr>
              <p:cNvSpPr/>
              <p:nvPr/>
            </p:nvSpPr>
            <p:spPr>
              <a:xfrm>
                <a:off x="5852433"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4" name="Freeform: Shape 43">
                <a:extLst>
                  <a:ext uri="{FF2B5EF4-FFF2-40B4-BE49-F238E27FC236}">
                    <a16:creationId xmlns:a16="http://schemas.microsoft.com/office/drawing/2014/main" id="{7001FEFB-AE24-4CF7-8EEF-084BCD466D81}"/>
                  </a:ext>
                </a:extLst>
              </p:cNvPr>
              <p:cNvSpPr/>
              <p:nvPr/>
            </p:nvSpPr>
            <p:spPr>
              <a:xfrm>
                <a:off x="5911678"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5" name="Freeform: Shape 44">
                <a:extLst>
                  <a:ext uri="{FF2B5EF4-FFF2-40B4-BE49-F238E27FC236}">
                    <a16:creationId xmlns:a16="http://schemas.microsoft.com/office/drawing/2014/main" id="{459BD4F3-A5E1-4F7D-A7AB-EF6BED5BE889}"/>
                  </a:ext>
                </a:extLst>
              </p:cNvPr>
              <p:cNvSpPr/>
              <p:nvPr/>
            </p:nvSpPr>
            <p:spPr>
              <a:xfrm>
                <a:off x="5970828"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6" name="Freeform: Shape 45">
                <a:extLst>
                  <a:ext uri="{FF2B5EF4-FFF2-40B4-BE49-F238E27FC236}">
                    <a16:creationId xmlns:a16="http://schemas.microsoft.com/office/drawing/2014/main" id="{F1687F6E-4940-4782-A3A7-5C9C1552BF4B}"/>
                  </a:ext>
                </a:extLst>
              </p:cNvPr>
              <p:cNvSpPr/>
              <p:nvPr/>
            </p:nvSpPr>
            <p:spPr>
              <a:xfrm>
                <a:off x="6030073" y="3244679"/>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7" name="Freeform: Shape 46">
                <a:extLst>
                  <a:ext uri="{FF2B5EF4-FFF2-40B4-BE49-F238E27FC236}">
                    <a16:creationId xmlns:a16="http://schemas.microsoft.com/office/drawing/2014/main" id="{BEC7FFDC-A904-44D2-8F0B-91A5C76CC514}"/>
                  </a:ext>
                </a:extLst>
              </p:cNvPr>
              <p:cNvSpPr/>
              <p:nvPr/>
            </p:nvSpPr>
            <p:spPr>
              <a:xfrm>
                <a:off x="6089224"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8" name="Freeform: Shape 47">
                <a:extLst>
                  <a:ext uri="{FF2B5EF4-FFF2-40B4-BE49-F238E27FC236}">
                    <a16:creationId xmlns:a16="http://schemas.microsoft.com/office/drawing/2014/main" id="{EA15C8BC-5975-40E1-A988-EB34FBCF078A}"/>
                  </a:ext>
                </a:extLst>
              </p:cNvPr>
              <p:cNvSpPr/>
              <p:nvPr/>
            </p:nvSpPr>
            <p:spPr>
              <a:xfrm>
                <a:off x="5734038" y="3303829"/>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9" name="Freeform: Shape 48">
                <a:extLst>
                  <a:ext uri="{FF2B5EF4-FFF2-40B4-BE49-F238E27FC236}">
                    <a16:creationId xmlns:a16="http://schemas.microsoft.com/office/drawing/2014/main" id="{371BAC0D-2BF9-4781-A7BB-06AA16D0E6C2}"/>
                  </a:ext>
                </a:extLst>
              </p:cNvPr>
              <p:cNvSpPr/>
              <p:nvPr/>
            </p:nvSpPr>
            <p:spPr>
              <a:xfrm>
                <a:off x="5793283" y="3303829"/>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0" name="Freeform: Shape 49">
                <a:extLst>
                  <a:ext uri="{FF2B5EF4-FFF2-40B4-BE49-F238E27FC236}">
                    <a16:creationId xmlns:a16="http://schemas.microsoft.com/office/drawing/2014/main" id="{8FD04182-650D-498F-A066-FE4C0FA6DA1E}"/>
                  </a:ext>
                </a:extLst>
              </p:cNvPr>
              <p:cNvSpPr/>
              <p:nvPr/>
            </p:nvSpPr>
            <p:spPr>
              <a:xfrm>
                <a:off x="5852433"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1" name="Freeform: Shape 50">
                <a:extLst>
                  <a:ext uri="{FF2B5EF4-FFF2-40B4-BE49-F238E27FC236}">
                    <a16:creationId xmlns:a16="http://schemas.microsoft.com/office/drawing/2014/main" id="{6E839DFF-01B4-4B5E-9910-024EC8FE1DA7}"/>
                  </a:ext>
                </a:extLst>
              </p:cNvPr>
              <p:cNvSpPr/>
              <p:nvPr/>
            </p:nvSpPr>
            <p:spPr>
              <a:xfrm>
                <a:off x="5911678"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2" name="Freeform: Shape 51">
                <a:extLst>
                  <a:ext uri="{FF2B5EF4-FFF2-40B4-BE49-F238E27FC236}">
                    <a16:creationId xmlns:a16="http://schemas.microsoft.com/office/drawing/2014/main" id="{0C100C3D-5A4C-4D50-AAEC-07A4457548DE}"/>
                  </a:ext>
                </a:extLst>
              </p:cNvPr>
              <p:cNvSpPr/>
              <p:nvPr/>
            </p:nvSpPr>
            <p:spPr>
              <a:xfrm>
                <a:off x="5970828"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3" name="Freeform: Shape 52">
                <a:extLst>
                  <a:ext uri="{FF2B5EF4-FFF2-40B4-BE49-F238E27FC236}">
                    <a16:creationId xmlns:a16="http://schemas.microsoft.com/office/drawing/2014/main" id="{C8647050-08AF-4BD8-87C4-CA230312901B}"/>
                  </a:ext>
                </a:extLst>
              </p:cNvPr>
              <p:cNvSpPr/>
              <p:nvPr/>
            </p:nvSpPr>
            <p:spPr>
              <a:xfrm>
                <a:off x="6030073" y="3303829"/>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4" name="Freeform: Shape 53">
                <a:extLst>
                  <a:ext uri="{FF2B5EF4-FFF2-40B4-BE49-F238E27FC236}">
                    <a16:creationId xmlns:a16="http://schemas.microsoft.com/office/drawing/2014/main" id="{9A0F33E0-AADA-44E2-A5AC-31DF5EE3D381}"/>
                  </a:ext>
                </a:extLst>
              </p:cNvPr>
              <p:cNvSpPr/>
              <p:nvPr/>
            </p:nvSpPr>
            <p:spPr>
              <a:xfrm>
                <a:off x="6089224"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5" name="Freeform: Shape 54">
                <a:extLst>
                  <a:ext uri="{FF2B5EF4-FFF2-40B4-BE49-F238E27FC236}">
                    <a16:creationId xmlns:a16="http://schemas.microsoft.com/office/drawing/2014/main" id="{32C8FA1D-A02A-4388-9886-69EBC58C077E}"/>
                  </a:ext>
                </a:extLst>
              </p:cNvPr>
              <p:cNvSpPr/>
              <p:nvPr/>
            </p:nvSpPr>
            <p:spPr>
              <a:xfrm>
                <a:off x="5734038" y="3363074"/>
                <a:ext cx="14192" cy="14097"/>
              </a:xfrm>
              <a:custGeom>
                <a:avLst/>
                <a:gdLst>
                  <a:gd name="connsiteX0" fmla="*/ 14192 w 14192"/>
                  <a:gd name="connsiteY0" fmla="*/ 7048 h 14097"/>
                  <a:gd name="connsiteX1" fmla="*/ 7144 w 14192"/>
                  <a:gd name="connsiteY1" fmla="*/ 14097 h 14097"/>
                  <a:gd name="connsiteX2" fmla="*/ 0 w 14192"/>
                  <a:gd name="connsiteY2" fmla="*/ 7048 h 14097"/>
                  <a:gd name="connsiteX3" fmla="*/ 7049 w 14192"/>
                  <a:gd name="connsiteY3" fmla="*/ 0 h 14097"/>
                  <a:gd name="connsiteX4" fmla="*/ 14192 w 14192"/>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7">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6" name="Freeform: Shape 55">
                <a:extLst>
                  <a:ext uri="{FF2B5EF4-FFF2-40B4-BE49-F238E27FC236}">
                    <a16:creationId xmlns:a16="http://schemas.microsoft.com/office/drawing/2014/main" id="{99421FD3-355A-4629-BFAD-527ECD82EE07}"/>
                  </a:ext>
                </a:extLst>
              </p:cNvPr>
              <p:cNvSpPr/>
              <p:nvPr/>
            </p:nvSpPr>
            <p:spPr>
              <a:xfrm>
                <a:off x="5793283" y="3363072"/>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7" name="Freeform: Shape 56">
                <a:extLst>
                  <a:ext uri="{FF2B5EF4-FFF2-40B4-BE49-F238E27FC236}">
                    <a16:creationId xmlns:a16="http://schemas.microsoft.com/office/drawing/2014/main" id="{2AB71DCF-EB57-4B33-9FF7-11CA0CB96573}"/>
                  </a:ext>
                </a:extLst>
              </p:cNvPr>
              <p:cNvSpPr/>
              <p:nvPr/>
            </p:nvSpPr>
            <p:spPr>
              <a:xfrm>
                <a:off x="5852433"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8" name="Freeform: Shape 57">
                <a:extLst>
                  <a:ext uri="{FF2B5EF4-FFF2-40B4-BE49-F238E27FC236}">
                    <a16:creationId xmlns:a16="http://schemas.microsoft.com/office/drawing/2014/main" id="{CE86AA54-A444-4823-A6DC-491E77E34B4A}"/>
                  </a:ext>
                </a:extLst>
              </p:cNvPr>
              <p:cNvSpPr/>
              <p:nvPr/>
            </p:nvSpPr>
            <p:spPr>
              <a:xfrm>
                <a:off x="5911678"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59" name="Freeform: Shape 58">
                <a:extLst>
                  <a:ext uri="{FF2B5EF4-FFF2-40B4-BE49-F238E27FC236}">
                    <a16:creationId xmlns:a16="http://schemas.microsoft.com/office/drawing/2014/main" id="{750E2DF6-23A6-4192-BD64-7997AABE595B}"/>
                  </a:ext>
                </a:extLst>
              </p:cNvPr>
              <p:cNvSpPr/>
              <p:nvPr/>
            </p:nvSpPr>
            <p:spPr>
              <a:xfrm>
                <a:off x="5970828"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0" name="Freeform: Shape 59">
                <a:extLst>
                  <a:ext uri="{FF2B5EF4-FFF2-40B4-BE49-F238E27FC236}">
                    <a16:creationId xmlns:a16="http://schemas.microsoft.com/office/drawing/2014/main" id="{DC3D9758-1EA4-43A6-8375-DDED592A9AB6}"/>
                  </a:ext>
                </a:extLst>
              </p:cNvPr>
              <p:cNvSpPr/>
              <p:nvPr/>
            </p:nvSpPr>
            <p:spPr>
              <a:xfrm>
                <a:off x="6030073" y="3363074"/>
                <a:ext cx="14097" cy="14097"/>
              </a:xfrm>
              <a:custGeom>
                <a:avLst/>
                <a:gdLst>
                  <a:gd name="connsiteX0" fmla="*/ 14097 w 14097"/>
                  <a:gd name="connsiteY0" fmla="*/ 7048 h 14097"/>
                  <a:gd name="connsiteX1" fmla="*/ 7048 w 14097"/>
                  <a:gd name="connsiteY1" fmla="*/ 14097 h 14097"/>
                  <a:gd name="connsiteX2" fmla="*/ 0 w 14097"/>
                  <a:gd name="connsiteY2" fmla="*/ 7048 h 14097"/>
                  <a:gd name="connsiteX3" fmla="*/ 7048 w 14097"/>
                  <a:gd name="connsiteY3" fmla="*/ 0 h 14097"/>
                  <a:gd name="connsiteX4" fmla="*/ 14097 w 14097"/>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1" name="Freeform: Shape 60">
                <a:extLst>
                  <a:ext uri="{FF2B5EF4-FFF2-40B4-BE49-F238E27FC236}">
                    <a16:creationId xmlns:a16="http://schemas.microsoft.com/office/drawing/2014/main" id="{1DFC1416-C64A-4C0B-8898-ABAABA0FCBC2}"/>
                  </a:ext>
                </a:extLst>
              </p:cNvPr>
              <p:cNvSpPr/>
              <p:nvPr/>
            </p:nvSpPr>
            <p:spPr>
              <a:xfrm>
                <a:off x="6089224"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2" name="Freeform: Shape 61">
                <a:extLst>
                  <a:ext uri="{FF2B5EF4-FFF2-40B4-BE49-F238E27FC236}">
                    <a16:creationId xmlns:a16="http://schemas.microsoft.com/office/drawing/2014/main" id="{D2A221D1-7EAA-4907-A58E-8E81E7BA4748}"/>
                  </a:ext>
                </a:extLst>
              </p:cNvPr>
              <p:cNvSpPr/>
              <p:nvPr/>
            </p:nvSpPr>
            <p:spPr>
              <a:xfrm>
                <a:off x="5734038" y="3422225"/>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3" name="Freeform: Shape 62">
                <a:extLst>
                  <a:ext uri="{FF2B5EF4-FFF2-40B4-BE49-F238E27FC236}">
                    <a16:creationId xmlns:a16="http://schemas.microsoft.com/office/drawing/2014/main" id="{AAC899B4-B060-44A9-9E5E-60A775CE2D41}"/>
                  </a:ext>
                </a:extLst>
              </p:cNvPr>
              <p:cNvSpPr/>
              <p:nvPr/>
            </p:nvSpPr>
            <p:spPr>
              <a:xfrm>
                <a:off x="5793283" y="3422225"/>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4" name="Freeform: Shape 63">
                <a:extLst>
                  <a:ext uri="{FF2B5EF4-FFF2-40B4-BE49-F238E27FC236}">
                    <a16:creationId xmlns:a16="http://schemas.microsoft.com/office/drawing/2014/main" id="{F68A0E9C-6E97-4889-8C4E-1771D6465B4D}"/>
                  </a:ext>
                </a:extLst>
              </p:cNvPr>
              <p:cNvSpPr/>
              <p:nvPr/>
            </p:nvSpPr>
            <p:spPr>
              <a:xfrm>
                <a:off x="5852433"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5" name="Freeform: Shape 64">
                <a:extLst>
                  <a:ext uri="{FF2B5EF4-FFF2-40B4-BE49-F238E27FC236}">
                    <a16:creationId xmlns:a16="http://schemas.microsoft.com/office/drawing/2014/main" id="{D705A29F-351D-4D7D-AB5F-B6A24011D559}"/>
                  </a:ext>
                </a:extLst>
              </p:cNvPr>
              <p:cNvSpPr/>
              <p:nvPr/>
            </p:nvSpPr>
            <p:spPr>
              <a:xfrm>
                <a:off x="5911678"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6" name="Freeform: Shape 65">
                <a:extLst>
                  <a:ext uri="{FF2B5EF4-FFF2-40B4-BE49-F238E27FC236}">
                    <a16:creationId xmlns:a16="http://schemas.microsoft.com/office/drawing/2014/main" id="{EC0BB292-2828-40AB-A869-CF6D114F0630}"/>
                  </a:ext>
                </a:extLst>
              </p:cNvPr>
              <p:cNvSpPr/>
              <p:nvPr/>
            </p:nvSpPr>
            <p:spPr>
              <a:xfrm>
                <a:off x="5970828"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7" name="Freeform: Shape 66">
                <a:extLst>
                  <a:ext uri="{FF2B5EF4-FFF2-40B4-BE49-F238E27FC236}">
                    <a16:creationId xmlns:a16="http://schemas.microsoft.com/office/drawing/2014/main" id="{78EEFC2A-B463-4C2F-8D33-BA746EEC561E}"/>
                  </a:ext>
                </a:extLst>
              </p:cNvPr>
              <p:cNvSpPr/>
              <p:nvPr/>
            </p:nvSpPr>
            <p:spPr>
              <a:xfrm>
                <a:off x="6030073" y="3422225"/>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8" name="Freeform: Shape 67">
                <a:extLst>
                  <a:ext uri="{FF2B5EF4-FFF2-40B4-BE49-F238E27FC236}">
                    <a16:creationId xmlns:a16="http://schemas.microsoft.com/office/drawing/2014/main" id="{669784EC-901F-43E1-9785-CA274A2E37AE}"/>
                  </a:ext>
                </a:extLst>
              </p:cNvPr>
              <p:cNvSpPr/>
              <p:nvPr/>
            </p:nvSpPr>
            <p:spPr>
              <a:xfrm>
                <a:off x="6089224"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69" name="Freeform: Shape 68">
                <a:extLst>
                  <a:ext uri="{FF2B5EF4-FFF2-40B4-BE49-F238E27FC236}">
                    <a16:creationId xmlns:a16="http://schemas.microsoft.com/office/drawing/2014/main" id="{EA79E5A7-5CA0-40FF-86F1-17C44CDA5EE3}"/>
                  </a:ext>
                </a:extLst>
              </p:cNvPr>
              <p:cNvSpPr/>
              <p:nvPr/>
            </p:nvSpPr>
            <p:spPr>
              <a:xfrm>
                <a:off x="6148469" y="3067039"/>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6953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54"/>
                      <a:pt x="10954" y="14097"/>
                      <a:pt x="7049" y="14097"/>
                    </a:cubicBezTo>
                    <a:cubicBezTo>
                      <a:pt x="3143" y="14097"/>
                      <a:pt x="0" y="10954"/>
                      <a:pt x="0" y="7049"/>
                    </a:cubicBezTo>
                    <a:cubicBezTo>
                      <a:pt x="0" y="3143"/>
                      <a:pt x="3048" y="0"/>
                      <a:pt x="6953"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0" name="Freeform: Shape 69">
                <a:extLst>
                  <a:ext uri="{FF2B5EF4-FFF2-40B4-BE49-F238E27FC236}">
                    <a16:creationId xmlns:a16="http://schemas.microsoft.com/office/drawing/2014/main" id="{CA733E24-831B-4F88-B794-2CBF062D1F34}"/>
                  </a:ext>
                </a:extLst>
              </p:cNvPr>
              <p:cNvSpPr/>
              <p:nvPr/>
            </p:nvSpPr>
            <p:spPr>
              <a:xfrm>
                <a:off x="6207620"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1" name="Freeform: Shape 70">
                <a:extLst>
                  <a:ext uri="{FF2B5EF4-FFF2-40B4-BE49-F238E27FC236}">
                    <a16:creationId xmlns:a16="http://schemas.microsoft.com/office/drawing/2014/main" id="{6C529298-268D-4F6A-8278-B794C72F612D}"/>
                  </a:ext>
                </a:extLst>
              </p:cNvPr>
              <p:cNvSpPr/>
              <p:nvPr/>
            </p:nvSpPr>
            <p:spPr>
              <a:xfrm>
                <a:off x="6266865" y="3067039"/>
                <a:ext cx="14096" cy="14097"/>
              </a:xfrm>
              <a:custGeom>
                <a:avLst/>
                <a:gdLst>
                  <a:gd name="connsiteX0" fmla="*/ 14097 w 14096"/>
                  <a:gd name="connsiteY0" fmla="*/ 7049 h 14097"/>
                  <a:gd name="connsiteX1" fmla="*/ 7049 w 14096"/>
                  <a:gd name="connsiteY1" fmla="*/ 14097 h 14097"/>
                  <a:gd name="connsiteX2" fmla="*/ 0 w 14096"/>
                  <a:gd name="connsiteY2" fmla="*/ 7049 h 14097"/>
                  <a:gd name="connsiteX3" fmla="*/ 6953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9" y="14097"/>
                    </a:cubicBezTo>
                    <a:cubicBezTo>
                      <a:pt x="3143" y="14097"/>
                      <a:pt x="0" y="10954"/>
                      <a:pt x="0" y="7049"/>
                    </a:cubicBezTo>
                    <a:cubicBezTo>
                      <a:pt x="0" y="3143"/>
                      <a:pt x="3048" y="0"/>
                      <a:pt x="6953" y="0"/>
                    </a:cubicBezTo>
                    <a:cubicBezTo>
                      <a:pt x="10859"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2" name="Freeform: Shape 71">
                <a:extLst>
                  <a:ext uri="{FF2B5EF4-FFF2-40B4-BE49-F238E27FC236}">
                    <a16:creationId xmlns:a16="http://schemas.microsoft.com/office/drawing/2014/main" id="{9025A9CB-F748-49F6-BD88-DACA23F6D574}"/>
                  </a:ext>
                </a:extLst>
              </p:cNvPr>
              <p:cNvSpPr/>
              <p:nvPr/>
            </p:nvSpPr>
            <p:spPr>
              <a:xfrm>
                <a:off x="6326014"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3" name="Freeform: Shape 72">
                <a:extLst>
                  <a:ext uri="{FF2B5EF4-FFF2-40B4-BE49-F238E27FC236}">
                    <a16:creationId xmlns:a16="http://schemas.microsoft.com/office/drawing/2014/main" id="{54D26918-0834-40FF-888A-16AB573AB42D}"/>
                  </a:ext>
                </a:extLst>
              </p:cNvPr>
              <p:cNvSpPr/>
              <p:nvPr/>
            </p:nvSpPr>
            <p:spPr>
              <a:xfrm>
                <a:off x="6385260"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6953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048" y="0"/>
                      <a:pt x="6953" y="0"/>
                    </a:cubicBezTo>
                    <a:cubicBezTo>
                      <a:pt x="10858"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4" name="Freeform: Shape 73">
                <a:extLst>
                  <a:ext uri="{FF2B5EF4-FFF2-40B4-BE49-F238E27FC236}">
                    <a16:creationId xmlns:a16="http://schemas.microsoft.com/office/drawing/2014/main" id="{3BA0D0AD-9F3E-4A88-AD9A-027E61780550}"/>
                  </a:ext>
                </a:extLst>
              </p:cNvPr>
              <p:cNvSpPr/>
              <p:nvPr/>
            </p:nvSpPr>
            <p:spPr>
              <a:xfrm>
                <a:off x="6444410"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41"/>
                      <a:pt x="10941" y="14097"/>
                      <a:pt x="7048" y="14097"/>
                    </a:cubicBezTo>
                    <a:cubicBezTo>
                      <a:pt x="3156" y="14097"/>
                      <a:pt x="0" y="10941"/>
                      <a:pt x="0" y="7049"/>
                    </a:cubicBezTo>
                    <a:cubicBezTo>
                      <a:pt x="0" y="3156"/>
                      <a:pt x="3156" y="0"/>
                      <a:pt x="7048"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5" name="Freeform: Shape 74">
                <a:extLst>
                  <a:ext uri="{FF2B5EF4-FFF2-40B4-BE49-F238E27FC236}">
                    <a16:creationId xmlns:a16="http://schemas.microsoft.com/office/drawing/2014/main" id="{C89DCC43-513D-49FC-AF25-83BBD29B7661}"/>
                  </a:ext>
                </a:extLst>
              </p:cNvPr>
              <p:cNvSpPr/>
              <p:nvPr/>
            </p:nvSpPr>
            <p:spPr>
              <a:xfrm>
                <a:off x="6148469" y="3126281"/>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6" name="Freeform: Shape 75">
                <a:extLst>
                  <a:ext uri="{FF2B5EF4-FFF2-40B4-BE49-F238E27FC236}">
                    <a16:creationId xmlns:a16="http://schemas.microsoft.com/office/drawing/2014/main" id="{AFEAF63A-AFBF-4F67-88D7-ADA3D9E00FC4}"/>
                  </a:ext>
                </a:extLst>
              </p:cNvPr>
              <p:cNvSpPr/>
              <p:nvPr/>
            </p:nvSpPr>
            <p:spPr>
              <a:xfrm>
                <a:off x="6207620" y="3126281"/>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7" name="Freeform: Shape 76">
                <a:extLst>
                  <a:ext uri="{FF2B5EF4-FFF2-40B4-BE49-F238E27FC236}">
                    <a16:creationId xmlns:a16="http://schemas.microsoft.com/office/drawing/2014/main" id="{448DE51B-423E-482E-903E-5139E42BDD4C}"/>
                  </a:ext>
                </a:extLst>
              </p:cNvPr>
              <p:cNvSpPr/>
              <p:nvPr/>
            </p:nvSpPr>
            <p:spPr>
              <a:xfrm>
                <a:off x="6266865" y="3126281"/>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8" name="Freeform: Shape 77">
                <a:extLst>
                  <a:ext uri="{FF2B5EF4-FFF2-40B4-BE49-F238E27FC236}">
                    <a16:creationId xmlns:a16="http://schemas.microsoft.com/office/drawing/2014/main" id="{5449ADB8-318D-4965-814B-D6A13F780F1D}"/>
                  </a:ext>
                </a:extLst>
              </p:cNvPr>
              <p:cNvSpPr/>
              <p:nvPr/>
            </p:nvSpPr>
            <p:spPr>
              <a:xfrm>
                <a:off x="6326014" y="3126281"/>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79" name="Freeform: Shape 78">
                <a:extLst>
                  <a:ext uri="{FF2B5EF4-FFF2-40B4-BE49-F238E27FC236}">
                    <a16:creationId xmlns:a16="http://schemas.microsoft.com/office/drawing/2014/main" id="{FD514D12-AA49-408C-BEE1-BBCF4C036159}"/>
                  </a:ext>
                </a:extLst>
              </p:cNvPr>
              <p:cNvSpPr/>
              <p:nvPr/>
            </p:nvSpPr>
            <p:spPr>
              <a:xfrm>
                <a:off x="6385260" y="3126281"/>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0" name="Freeform: Shape 79">
                <a:extLst>
                  <a:ext uri="{FF2B5EF4-FFF2-40B4-BE49-F238E27FC236}">
                    <a16:creationId xmlns:a16="http://schemas.microsoft.com/office/drawing/2014/main" id="{05A785BE-E570-4DB4-8F7F-0AC9077116D8}"/>
                  </a:ext>
                </a:extLst>
              </p:cNvPr>
              <p:cNvSpPr/>
              <p:nvPr/>
            </p:nvSpPr>
            <p:spPr>
              <a:xfrm>
                <a:off x="6444410" y="3126283"/>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1" name="Freeform: Shape 80">
                <a:extLst>
                  <a:ext uri="{FF2B5EF4-FFF2-40B4-BE49-F238E27FC236}">
                    <a16:creationId xmlns:a16="http://schemas.microsoft.com/office/drawing/2014/main" id="{97E79511-3F2F-4B2E-8830-7B7F555DA83E}"/>
                  </a:ext>
                </a:extLst>
              </p:cNvPr>
              <p:cNvSpPr/>
              <p:nvPr/>
            </p:nvSpPr>
            <p:spPr>
              <a:xfrm>
                <a:off x="6148469" y="3185433"/>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2" name="Freeform: Shape 81">
                <a:extLst>
                  <a:ext uri="{FF2B5EF4-FFF2-40B4-BE49-F238E27FC236}">
                    <a16:creationId xmlns:a16="http://schemas.microsoft.com/office/drawing/2014/main" id="{DB7310B7-0080-4264-91E4-C548107F6D72}"/>
                  </a:ext>
                </a:extLst>
              </p:cNvPr>
              <p:cNvSpPr/>
              <p:nvPr/>
            </p:nvSpPr>
            <p:spPr>
              <a:xfrm>
                <a:off x="6207620" y="318543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3" name="Freeform: Shape 82">
                <a:extLst>
                  <a:ext uri="{FF2B5EF4-FFF2-40B4-BE49-F238E27FC236}">
                    <a16:creationId xmlns:a16="http://schemas.microsoft.com/office/drawing/2014/main" id="{45FF82DB-4737-404E-9ACA-B19B6A089EA8}"/>
                  </a:ext>
                </a:extLst>
              </p:cNvPr>
              <p:cNvSpPr/>
              <p:nvPr/>
            </p:nvSpPr>
            <p:spPr>
              <a:xfrm>
                <a:off x="6266865" y="3185433"/>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4" name="Freeform: Shape 83">
                <a:extLst>
                  <a:ext uri="{FF2B5EF4-FFF2-40B4-BE49-F238E27FC236}">
                    <a16:creationId xmlns:a16="http://schemas.microsoft.com/office/drawing/2014/main" id="{43A6BFE2-F1B0-4924-9302-9DA895CA44C3}"/>
                  </a:ext>
                </a:extLst>
              </p:cNvPr>
              <p:cNvSpPr/>
              <p:nvPr/>
            </p:nvSpPr>
            <p:spPr>
              <a:xfrm>
                <a:off x="6326014" y="318543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5" name="Freeform: Shape 84">
                <a:extLst>
                  <a:ext uri="{FF2B5EF4-FFF2-40B4-BE49-F238E27FC236}">
                    <a16:creationId xmlns:a16="http://schemas.microsoft.com/office/drawing/2014/main" id="{9CDDEDDC-F6C4-4D85-8B8D-DA09731DAC62}"/>
                  </a:ext>
                </a:extLst>
              </p:cNvPr>
              <p:cNvSpPr/>
              <p:nvPr/>
            </p:nvSpPr>
            <p:spPr>
              <a:xfrm>
                <a:off x="6385260" y="318543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6" name="Freeform: Shape 85">
                <a:extLst>
                  <a:ext uri="{FF2B5EF4-FFF2-40B4-BE49-F238E27FC236}">
                    <a16:creationId xmlns:a16="http://schemas.microsoft.com/office/drawing/2014/main" id="{DA23F74A-EE1B-414F-A58F-CB49D8A32924}"/>
                  </a:ext>
                </a:extLst>
              </p:cNvPr>
              <p:cNvSpPr/>
              <p:nvPr/>
            </p:nvSpPr>
            <p:spPr>
              <a:xfrm>
                <a:off x="6444410" y="3185432"/>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41"/>
                      <a:pt x="10941" y="14097"/>
                      <a:pt x="7048" y="14097"/>
                    </a:cubicBezTo>
                    <a:cubicBezTo>
                      <a:pt x="3156" y="14097"/>
                      <a:pt x="0" y="10941"/>
                      <a:pt x="0" y="7049"/>
                    </a:cubicBezTo>
                    <a:cubicBezTo>
                      <a:pt x="0" y="3156"/>
                      <a:pt x="3156" y="0"/>
                      <a:pt x="7048"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7" name="Freeform: Shape 86">
                <a:extLst>
                  <a:ext uri="{FF2B5EF4-FFF2-40B4-BE49-F238E27FC236}">
                    <a16:creationId xmlns:a16="http://schemas.microsoft.com/office/drawing/2014/main" id="{56AFD036-E68B-45F9-9B76-E4B3A4B50800}"/>
                  </a:ext>
                </a:extLst>
              </p:cNvPr>
              <p:cNvSpPr/>
              <p:nvPr/>
            </p:nvSpPr>
            <p:spPr>
              <a:xfrm>
                <a:off x="6148469" y="3244676"/>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8" name="Freeform: Shape 87">
                <a:extLst>
                  <a:ext uri="{FF2B5EF4-FFF2-40B4-BE49-F238E27FC236}">
                    <a16:creationId xmlns:a16="http://schemas.microsoft.com/office/drawing/2014/main" id="{2ACC9D1B-CB8B-4193-B702-DA68B92DE9F9}"/>
                  </a:ext>
                </a:extLst>
              </p:cNvPr>
              <p:cNvSpPr/>
              <p:nvPr/>
            </p:nvSpPr>
            <p:spPr>
              <a:xfrm>
                <a:off x="6207620" y="3244676"/>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89" name="Freeform: Shape 88">
                <a:extLst>
                  <a:ext uri="{FF2B5EF4-FFF2-40B4-BE49-F238E27FC236}">
                    <a16:creationId xmlns:a16="http://schemas.microsoft.com/office/drawing/2014/main" id="{0FBC88AB-930A-4D32-8DB1-82563BFF0EAE}"/>
                  </a:ext>
                </a:extLst>
              </p:cNvPr>
              <p:cNvSpPr/>
              <p:nvPr/>
            </p:nvSpPr>
            <p:spPr>
              <a:xfrm>
                <a:off x="6266865" y="3244676"/>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0" name="Freeform: Shape 89">
                <a:extLst>
                  <a:ext uri="{FF2B5EF4-FFF2-40B4-BE49-F238E27FC236}">
                    <a16:creationId xmlns:a16="http://schemas.microsoft.com/office/drawing/2014/main" id="{74274EB1-FC6D-4C4D-965D-DEBA45892216}"/>
                  </a:ext>
                </a:extLst>
              </p:cNvPr>
              <p:cNvSpPr/>
              <p:nvPr/>
            </p:nvSpPr>
            <p:spPr>
              <a:xfrm>
                <a:off x="6326014" y="3244676"/>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1" name="Freeform: Shape 90">
                <a:extLst>
                  <a:ext uri="{FF2B5EF4-FFF2-40B4-BE49-F238E27FC236}">
                    <a16:creationId xmlns:a16="http://schemas.microsoft.com/office/drawing/2014/main" id="{FE4E35D8-7704-40DC-A190-5B4E8BE44974}"/>
                  </a:ext>
                </a:extLst>
              </p:cNvPr>
              <p:cNvSpPr/>
              <p:nvPr/>
            </p:nvSpPr>
            <p:spPr>
              <a:xfrm>
                <a:off x="6385260" y="3244676"/>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2" name="Freeform: Shape 91">
                <a:extLst>
                  <a:ext uri="{FF2B5EF4-FFF2-40B4-BE49-F238E27FC236}">
                    <a16:creationId xmlns:a16="http://schemas.microsoft.com/office/drawing/2014/main" id="{EDB1E803-1D4D-4912-BA76-9EF947E19AF0}"/>
                  </a:ext>
                </a:extLst>
              </p:cNvPr>
              <p:cNvSpPr/>
              <p:nvPr/>
            </p:nvSpPr>
            <p:spPr>
              <a:xfrm>
                <a:off x="6444410" y="324467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3" name="Freeform: Shape 92">
                <a:extLst>
                  <a:ext uri="{FF2B5EF4-FFF2-40B4-BE49-F238E27FC236}">
                    <a16:creationId xmlns:a16="http://schemas.microsoft.com/office/drawing/2014/main" id="{7E241842-A248-438B-B3B4-37A05240BCBE}"/>
                  </a:ext>
                </a:extLst>
              </p:cNvPr>
              <p:cNvSpPr/>
              <p:nvPr/>
            </p:nvSpPr>
            <p:spPr>
              <a:xfrm>
                <a:off x="6148469" y="3303829"/>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4" name="Freeform: Shape 93">
                <a:extLst>
                  <a:ext uri="{FF2B5EF4-FFF2-40B4-BE49-F238E27FC236}">
                    <a16:creationId xmlns:a16="http://schemas.microsoft.com/office/drawing/2014/main" id="{C6E092F6-1BFE-4656-9029-9A2EEE8F79FD}"/>
                  </a:ext>
                </a:extLst>
              </p:cNvPr>
              <p:cNvSpPr/>
              <p:nvPr/>
            </p:nvSpPr>
            <p:spPr>
              <a:xfrm>
                <a:off x="6207620"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5" name="Freeform: Shape 94">
                <a:extLst>
                  <a:ext uri="{FF2B5EF4-FFF2-40B4-BE49-F238E27FC236}">
                    <a16:creationId xmlns:a16="http://schemas.microsoft.com/office/drawing/2014/main" id="{F4A890A0-353B-4CBB-8FD1-059BE94011AD}"/>
                  </a:ext>
                </a:extLst>
              </p:cNvPr>
              <p:cNvSpPr/>
              <p:nvPr/>
            </p:nvSpPr>
            <p:spPr>
              <a:xfrm>
                <a:off x="6266865" y="3303829"/>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6" name="Freeform: Shape 95">
                <a:extLst>
                  <a:ext uri="{FF2B5EF4-FFF2-40B4-BE49-F238E27FC236}">
                    <a16:creationId xmlns:a16="http://schemas.microsoft.com/office/drawing/2014/main" id="{6EFA174A-A4E5-4264-BD07-007305986AAF}"/>
                  </a:ext>
                </a:extLst>
              </p:cNvPr>
              <p:cNvSpPr/>
              <p:nvPr/>
            </p:nvSpPr>
            <p:spPr>
              <a:xfrm>
                <a:off x="6326014"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7" name="Freeform: Shape 96">
                <a:extLst>
                  <a:ext uri="{FF2B5EF4-FFF2-40B4-BE49-F238E27FC236}">
                    <a16:creationId xmlns:a16="http://schemas.microsoft.com/office/drawing/2014/main" id="{3FBAD25F-2FFC-4CEC-9B8A-5ED34707E666}"/>
                  </a:ext>
                </a:extLst>
              </p:cNvPr>
              <p:cNvSpPr/>
              <p:nvPr/>
            </p:nvSpPr>
            <p:spPr>
              <a:xfrm>
                <a:off x="6385260"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8" name="Freeform: Shape 97">
                <a:extLst>
                  <a:ext uri="{FF2B5EF4-FFF2-40B4-BE49-F238E27FC236}">
                    <a16:creationId xmlns:a16="http://schemas.microsoft.com/office/drawing/2014/main" id="{342EF4A1-21C1-45D4-B700-6EA4BF21BE00}"/>
                  </a:ext>
                </a:extLst>
              </p:cNvPr>
              <p:cNvSpPr/>
              <p:nvPr/>
            </p:nvSpPr>
            <p:spPr>
              <a:xfrm>
                <a:off x="6444410"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99" name="Freeform: Shape 98">
                <a:extLst>
                  <a:ext uri="{FF2B5EF4-FFF2-40B4-BE49-F238E27FC236}">
                    <a16:creationId xmlns:a16="http://schemas.microsoft.com/office/drawing/2014/main" id="{B2CCF840-70EA-4C9C-848E-B27B79A75DB1}"/>
                  </a:ext>
                </a:extLst>
              </p:cNvPr>
              <p:cNvSpPr/>
              <p:nvPr/>
            </p:nvSpPr>
            <p:spPr>
              <a:xfrm>
                <a:off x="6148469" y="3363072"/>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0" name="Freeform: Shape 99">
                <a:extLst>
                  <a:ext uri="{FF2B5EF4-FFF2-40B4-BE49-F238E27FC236}">
                    <a16:creationId xmlns:a16="http://schemas.microsoft.com/office/drawing/2014/main" id="{8E311D1C-5934-4C97-809E-E996B3845BA4}"/>
                  </a:ext>
                </a:extLst>
              </p:cNvPr>
              <p:cNvSpPr/>
              <p:nvPr/>
            </p:nvSpPr>
            <p:spPr>
              <a:xfrm>
                <a:off x="6207620"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1" name="Freeform: Shape 100">
                <a:extLst>
                  <a:ext uri="{FF2B5EF4-FFF2-40B4-BE49-F238E27FC236}">
                    <a16:creationId xmlns:a16="http://schemas.microsoft.com/office/drawing/2014/main" id="{B13F883A-929B-46F7-A9A8-547ACE9C0471}"/>
                  </a:ext>
                </a:extLst>
              </p:cNvPr>
              <p:cNvSpPr/>
              <p:nvPr/>
            </p:nvSpPr>
            <p:spPr>
              <a:xfrm>
                <a:off x="6266865" y="3363072"/>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2" name="Freeform: Shape 101">
                <a:extLst>
                  <a:ext uri="{FF2B5EF4-FFF2-40B4-BE49-F238E27FC236}">
                    <a16:creationId xmlns:a16="http://schemas.microsoft.com/office/drawing/2014/main" id="{16D72D9D-260C-42C4-B864-6AFFB236A12B}"/>
                  </a:ext>
                </a:extLst>
              </p:cNvPr>
              <p:cNvSpPr/>
              <p:nvPr/>
            </p:nvSpPr>
            <p:spPr>
              <a:xfrm>
                <a:off x="6326014"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3" name="Freeform: Shape 102">
                <a:extLst>
                  <a:ext uri="{FF2B5EF4-FFF2-40B4-BE49-F238E27FC236}">
                    <a16:creationId xmlns:a16="http://schemas.microsoft.com/office/drawing/2014/main" id="{57F62680-33C3-4510-A3B0-40F179FCEF84}"/>
                  </a:ext>
                </a:extLst>
              </p:cNvPr>
              <p:cNvSpPr/>
              <p:nvPr/>
            </p:nvSpPr>
            <p:spPr>
              <a:xfrm>
                <a:off x="6385260"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4" name="Freeform: Shape 103">
                <a:extLst>
                  <a:ext uri="{FF2B5EF4-FFF2-40B4-BE49-F238E27FC236}">
                    <a16:creationId xmlns:a16="http://schemas.microsoft.com/office/drawing/2014/main" id="{8C3F6DBC-3B3A-429F-A49A-485EF9960069}"/>
                  </a:ext>
                </a:extLst>
              </p:cNvPr>
              <p:cNvSpPr/>
              <p:nvPr/>
            </p:nvSpPr>
            <p:spPr>
              <a:xfrm>
                <a:off x="6444410" y="3363074"/>
                <a:ext cx="14096" cy="14097"/>
              </a:xfrm>
              <a:custGeom>
                <a:avLst/>
                <a:gdLst>
                  <a:gd name="connsiteX0" fmla="*/ 14097 w 14096"/>
                  <a:gd name="connsiteY0" fmla="*/ 7048 h 14097"/>
                  <a:gd name="connsiteX1" fmla="*/ 7048 w 14096"/>
                  <a:gd name="connsiteY1" fmla="*/ 14097 h 14097"/>
                  <a:gd name="connsiteX2" fmla="*/ 0 w 14096"/>
                  <a:gd name="connsiteY2" fmla="*/ 7048 h 14097"/>
                  <a:gd name="connsiteX3" fmla="*/ 7048 w 14096"/>
                  <a:gd name="connsiteY3" fmla="*/ 0 h 14097"/>
                  <a:gd name="connsiteX4" fmla="*/ 14097 w 14096"/>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5" name="Freeform: Shape 104">
                <a:extLst>
                  <a:ext uri="{FF2B5EF4-FFF2-40B4-BE49-F238E27FC236}">
                    <a16:creationId xmlns:a16="http://schemas.microsoft.com/office/drawing/2014/main" id="{09CFDDBA-E518-4324-B18A-EF6E4B50B845}"/>
                  </a:ext>
                </a:extLst>
              </p:cNvPr>
              <p:cNvSpPr/>
              <p:nvPr/>
            </p:nvSpPr>
            <p:spPr>
              <a:xfrm>
                <a:off x="6148469" y="3422225"/>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6" name="Freeform: Shape 105">
                <a:extLst>
                  <a:ext uri="{FF2B5EF4-FFF2-40B4-BE49-F238E27FC236}">
                    <a16:creationId xmlns:a16="http://schemas.microsoft.com/office/drawing/2014/main" id="{C8579CBC-E6AF-4829-AA1D-7B277821341A}"/>
                  </a:ext>
                </a:extLst>
              </p:cNvPr>
              <p:cNvSpPr/>
              <p:nvPr/>
            </p:nvSpPr>
            <p:spPr>
              <a:xfrm>
                <a:off x="6207620"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7" name="Freeform: Shape 106">
                <a:extLst>
                  <a:ext uri="{FF2B5EF4-FFF2-40B4-BE49-F238E27FC236}">
                    <a16:creationId xmlns:a16="http://schemas.microsoft.com/office/drawing/2014/main" id="{F4F87C77-9949-468A-9B86-3D4A3CB1D080}"/>
                  </a:ext>
                </a:extLst>
              </p:cNvPr>
              <p:cNvSpPr/>
              <p:nvPr/>
            </p:nvSpPr>
            <p:spPr>
              <a:xfrm>
                <a:off x="6266865" y="3422225"/>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8" name="Freeform: Shape 107">
                <a:extLst>
                  <a:ext uri="{FF2B5EF4-FFF2-40B4-BE49-F238E27FC236}">
                    <a16:creationId xmlns:a16="http://schemas.microsoft.com/office/drawing/2014/main" id="{C0DAD71F-08D6-41FB-93B2-448EB15BCB30}"/>
                  </a:ext>
                </a:extLst>
              </p:cNvPr>
              <p:cNvSpPr/>
              <p:nvPr/>
            </p:nvSpPr>
            <p:spPr>
              <a:xfrm>
                <a:off x="6326014"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09" name="Freeform: Shape 108">
                <a:extLst>
                  <a:ext uri="{FF2B5EF4-FFF2-40B4-BE49-F238E27FC236}">
                    <a16:creationId xmlns:a16="http://schemas.microsoft.com/office/drawing/2014/main" id="{BFE5B582-FC98-4E72-9AFF-067166B79359}"/>
                  </a:ext>
                </a:extLst>
              </p:cNvPr>
              <p:cNvSpPr/>
              <p:nvPr/>
            </p:nvSpPr>
            <p:spPr>
              <a:xfrm>
                <a:off x="6385260"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0" name="Freeform: Shape 109">
                <a:extLst>
                  <a:ext uri="{FF2B5EF4-FFF2-40B4-BE49-F238E27FC236}">
                    <a16:creationId xmlns:a16="http://schemas.microsoft.com/office/drawing/2014/main" id="{AA87FE08-67A7-40C4-BA28-5C87D875EB1A}"/>
                  </a:ext>
                </a:extLst>
              </p:cNvPr>
              <p:cNvSpPr/>
              <p:nvPr/>
            </p:nvSpPr>
            <p:spPr>
              <a:xfrm>
                <a:off x="6444410" y="342222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1" name="Freeform: Shape 110">
                <a:extLst>
                  <a:ext uri="{FF2B5EF4-FFF2-40B4-BE49-F238E27FC236}">
                    <a16:creationId xmlns:a16="http://schemas.microsoft.com/office/drawing/2014/main" id="{601F8489-E1AB-4730-8A77-EFF164E47BCC}"/>
                  </a:ext>
                </a:extLst>
              </p:cNvPr>
              <p:cNvSpPr/>
              <p:nvPr/>
            </p:nvSpPr>
            <p:spPr>
              <a:xfrm>
                <a:off x="5734038" y="3481374"/>
                <a:ext cx="14192" cy="14096"/>
              </a:xfrm>
              <a:custGeom>
                <a:avLst/>
                <a:gdLst>
                  <a:gd name="connsiteX0" fmla="*/ 14192 w 14192"/>
                  <a:gd name="connsiteY0" fmla="*/ 7049 h 14096"/>
                  <a:gd name="connsiteX1" fmla="*/ 7144 w 14192"/>
                  <a:gd name="connsiteY1" fmla="*/ 14097 h 14096"/>
                  <a:gd name="connsiteX2" fmla="*/ 0 w 14192"/>
                  <a:gd name="connsiteY2" fmla="*/ 7049 h 14096"/>
                  <a:gd name="connsiteX3" fmla="*/ 7049 w 14192"/>
                  <a:gd name="connsiteY3" fmla="*/ 0 h 14096"/>
                  <a:gd name="connsiteX4" fmla="*/ 14192 w 14192"/>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9"/>
                    </a:moveTo>
                    <a:cubicBezTo>
                      <a:pt x="14192" y="10954"/>
                      <a:pt x="11049" y="14097"/>
                      <a:pt x="7144" y="14097"/>
                    </a:cubicBezTo>
                    <a:cubicBezTo>
                      <a:pt x="3239" y="14097"/>
                      <a:pt x="0" y="11049"/>
                      <a:pt x="0" y="7049"/>
                    </a:cubicBezTo>
                    <a:cubicBezTo>
                      <a:pt x="0" y="3048"/>
                      <a:pt x="3143" y="0"/>
                      <a:pt x="7049" y="0"/>
                    </a:cubicBezTo>
                    <a:cubicBezTo>
                      <a:pt x="10954" y="0"/>
                      <a:pt x="14192" y="3143"/>
                      <a:pt x="14192"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2" name="Freeform: Shape 111">
                <a:extLst>
                  <a:ext uri="{FF2B5EF4-FFF2-40B4-BE49-F238E27FC236}">
                    <a16:creationId xmlns:a16="http://schemas.microsoft.com/office/drawing/2014/main" id="{D3E2442A-D936-4EBA-A666-6E82DB2DA28A}"/>
                  </a:ext>
                </a:extLst>
              </p:cNvPr>
              <p:cNvSpPr/>
              <p:nvPr/>
            </p:nvSpPr>
            <p:spPr>
              <a:xfrm>
                <a:off x="5793283" y="348137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3" name="Freeform: Shape 112">
                <a:extLst>
                  <a:ext uri="{FF2B5EF4-FFF2-40B4-BE49-F238E27FC236}">
                    <a16:creationId xmlns:a16="http://schemas.microsoft.com/office/drawing/2014/main" id="{2E891E37-78A2-43D1-99C0-5F53AC4AD9D4}"/>
                  </a:ext>
                </a:extLst>
              </p:cNvPr>
              <p:cNvSpPr/>
              <p:nvPr/>
            </p:nvSpPr>
            <p:spPr>
              <a:xfrm>
                <a:off x="5852433"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4" name="Freeform: Shape 113">
                <a:extLst>
                  <a:ext uri="{FF2B5EF4-FFF2-40B4-BE49-F238E27FC236}">
                    <a16:creationId xmlns:a16="http://schemas.microsoft.com/office/drawing/2014/main" id="{FF5FE9C1-0A9F-4E0A-8F9E-3EF3223F9E09}"/>
                  </a:ext>
                </a:extLst>
              </p:cNvPr>
              <p:cNvSpPr/>
              <p:nvPr/>
            </p:nvSpPr>
            <p:spPr>
              <a:xfrm>
                <a:off x="5911678"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5" name="Freeform: Shape 114">
                <a:extLst>
                  <a:ext uri="{FF2B5EF4-FFF2-40B4-BE49-F238E27FC236}">
                    <a16:creationId xmlns:a16="http://schemas.microsoft.com/office/drawing/2014/main" id="{57C2FED7-F344-47E5-BB1E-E7CB26B335F8}"/>
                  </a:ext>
                </a:extLst>
              </p:cNvPr>
              <p:cNvSpPr/>
              <p:nvPr/>
            </p:nvSpPr>
            <p:spPr>
              <a:xfrm>
                <a:off x="5970828"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6" name="Freeform: Shape 115">
                <a:extLst>
                  <a:ext uri="{FF2B5EF4-FFF2-40B4-BE49-F238E27FC236}">
                    <a16:creationId xmlns:a16="http://schemas.microsoft.com/office/drawing/2014/main" id="{C95DD38F-B4B9-40A1-B7BD-EDF00AFD64F9}"/>
                  </a:ext>
                </a:extLst>
              </p:cNvPr>
              <p:cNvSpPr/>
              <p:nvPr/>
            </p:nvSpPr>
            <p:spPr>
              <a:xfrm>
                <a:off x="6030074" y="348137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7" name="Freeform: Shape 116">
                <a:extLst>
                  <a:ext uri="{FF2B5EF4-FFF2-40B4-BE49-F238E27FC236}">
                    <a16:creationId xmlns:a16="http://schemas.microsoft.com/office/drawing/2014/main" id="{B1334E03-6B96-4D5A-8314-2AAB15396089}"/>
                  </a:ext>
                </a:extLst>
              </p:cNvPr>
              <p:cNvSpPr/>
              <p:nvPr/>
            </p:nvSpPr>
            <p:spPr>
              <a:xfrm>
                <a:off x="6089224"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8" name="Freeform: Shape 117">
                <a:extLst>
                  <a:ext uri="{FF2B5EF4-FFF2-40B4-BE49-F238E27FC236}">
                    <a16:creationId xmlns:a16="http://schemas.microsoft.com/office/drawing/2014/main" id="{59EFDAF0-6330-4D40-B4E4-57C5891A998C}"/>
                  </a:ext>
                </a:extLst>
              </p:cNvPr>
              <p:cNvSpPr/>
              <p:nvPr/>
            </p:nvSpPr>
            <p:spPr>
              <a:xfrm>
                <a:off x="5734038" y="3540620"/>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19" name="Freeform: Shape 118">
                <a:extLst>
                  <a:ext uri="{FF2B5EF4-FFF2-40B4-BE49-F238E27FC236}">
                    <a16:creationId xmlns:a16="http://schemas.microsoft.com/office/drawing/2014/main" id="{6EDDC210-93CC-4464-BDA2-3CC18C0C693B}"/>
                  </a:ext>
                </a:extLst>
              </p:cNvPr>
              <p:cNvSpPr/>
              <p:nvPr/>
            </p:nvSpPr>
            <p:spPr>
              <a:xfrm>
                <a:off x="5793283" y="3540620"/>
                <a:ext cx="14097" cy="14097"/>
              </a:xfrm>
              <a:custGeom>
                <a:avLst/>
                <a:gdLst>
                  <a:gd name="connsiteX0" fmla="*/ 14097 w 14097"/>
                  <a:gd name="connsiteY0" fmla="*/ 7048 h 14097"/>
                  <a:gd name="connsiteX1" fmla="*/ 7049 w 14097"/>
                  <a:gd name="connsiteY1" fmla="*/ 14097 h 14097"/>
                  <a:gd name="connsiteX2" fmla="*/ 0 w 14097"/>
                  <a:gd name="connsiteY2" fmla="*/ 7048 h 14097"/>
                  <a:gd name="connsiteX3" fmla="*/ 7049 w 14097"/>
                  <a:gd name="connsiteY3" fmla="*/ 0 h 14097"/>
                  <a:gd name="connsiteX4" fmla="*/ 14097 w 14097"/>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0" name="Freeform: Shape 119">
                <a:extLst>
                  <a:ext uri="{FF2B5EF4-FFF2-40B4-BE49-F238E27FC236}">
                    <a16:creationId xmlns:a16="http://schemas.microsoft.com/office/drawing/2014/main" id="{9E521203-1A0B-470B-B729-1B8B0AFF5A39}"/>
                  </a:ext>
                </a:extLst>
              </p:cNvPr>
              <p:cNvSpPr/>
              <p:nvPr/>
            </p:nvSpPr>
            <p:spPr>
              <a:xfrm>
                <a:off x="5852433"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1" name="Freeform: Shape 120">
                <a:extLst>
                  <a:ext uri="{FF2B5EF4-FFF2-40B4-BE49-F238E27FC236}">
                    <a16:creationId xmlns:a16="http://schemas.microsoft.com/office/drawing/2014/main" id="{091C18AB-4BE0-4C09-ABC6-05334DF7826F}"/>
                  </a:ext>
                </a:extLst>
              </p:cNvPr>
              <p:cNvSpPr/>
              <p:nvPr/>
            </p:nvSpPr>
            <p:spPr>
              <a:xfrm>
                <a:off x="5911678"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2" name="Freeform: Shape 121">
                <a:extLst>
                  <a:ext uri="{FF2B5EF4-FFF2-40B4-BE49-F238E27FC236}">
                    <a16:creationId xmlns:a16="http://schemas.microsoft.com/office/drawing/2014/main" id="{4EA1AE17-D725-411E-AFAC-60B5A959DF4E}"/>
                  </a:ext>
                </a:extLst>
              </p:cNvPr>
              <p:cNvSpPr/>
              <p:nvPr/>
            </p:nvSpPr>
            <p:spPr>
              <a:xfrm>
                <a:off x="5970828"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3" name="Freeform: Shape 122">
                <a:extLst>
                  <a:ext uri="{FF2B5EF4-FFF2-40B4-BE49-F238E27FC236}">
                    <a16:creationId xmlns:a16="http://schemas.microsoft.com/office/drawing/2014/main" id="{6D6D2AB0-DEA8-4510-96C2-B8547E8A7DD6}"/>
                  </a:ext>
                </a:extLst>
              </p:cNvPr>
              <p:cNvSpPr/>
              <p:nvPr/>
            </p:nvSpPr>
            <p:spPr>
              <a:xfrm>
                <a:off x="6030074" y="3540620"/>
                <a:ext cx="14097" cy="14097"/>
              </a:xfrm>
              <a:custGeom>
                <a:avLst/>
                <a:gdLst>
                  <a:gd name="connsiteX0" fmla="*/ 14097 w 14097"/>
                  <a:gd name="connsiteY0" fmla="*/ 7048 h 14097"/>
                  <a:gd name="connsiteX1" fmla="*/ 7049 w 14097"/>
                  <a:gd name="connsiteY1" fmla="*/ 14097 h 14097"/>
                  <a:gd name="connsiteX2" fmla="*/ 0 w 14097"/>
                  <a:gd name="connsiteY2" fmla="*/ 7048 h 14097"/>
                  <a:gd name="connsiteX3" fmla="*/ 7049 w 14097"/>
                  <a:gd name="connsiteY3" fmla="*/ 0 h 14097"/>
                  <a:gd name="connsiteX4" fmla="*/ 14097 w 14097"/>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4" name="Freeform: Shape 123">
                <a:extLst>
                  <a:ext uri="{FF2B5EF4-FFF2-40B4-BE49-F238E27FC236}">
                    <a16:creationId xmlns:a16="http://schemas.microsoft.com/office/drawing/2014/main" id="{5D2C70B9-3A29-4A3F-B9E2-02A556FB509F}"/>
                  </a:ext>
                </a:extLst>
              </p:cNvPr>
              <p:cNvSpPr/>
              <p:nvPr/>
            </p:nvSpPr>
            <p:spPr>
              <a:xfrm>
                <a:off x="6089224"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5" name="Freeform: Shape 124">
                <a:extLst>
                  <a:ext uri="{FF2B5EF4-FFF2-40B4-BE49-F238E27FC236}">
                    <a16:creationId xmlns:a16="http://schemas.microsoft.com/office/drawing/2014/main" id="{B7B5EA85-B9B6-47B1-9156-980D6B0EE597}"/>
                  </a:ext>
                </a:extLst>
              </p:cNvPr>
              <p:cNvSpPr/>
              <p:nvPr/>
            </p:nvSpPr>
            <p:spPr>
              <a:xfrm>
                <a:off x="5734038" y="3599770"/>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6" name="Freeform: Shape 125">
                <a:extLst>
                  <a:ext uri="{FF2B5EF4-FFF2-40B4-BE49-F238E27FC236}">
                    <a16:creationId xmlns:a16="http://schemas.microsoft.com/office/drawing/2014/main" id="{2C8DB9BF-A31E-45AC-8271-73868A63504C}"/>
                  </a:ext>
                </a:extLst>
              </p:cNvPr>
              <p:cNvSpPr/>
              <p:nvPr/>
            </p:nvSpPr>
            <p:spPr>
              <a:xfrm>
                <a:off x="5793283" y="3599770"/>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7" name="Freeform: Shape 126">
                <a:extLst>
                  <a:ext uri="{FF2B5EF4-FFF2-40B4-BE49-F238E27FC236}">
                    <a16:creationId xmlns:a16="http://schemas.microsoft.com/office/drawing/2014/main" id="{3F5BC346-9C8F-4FC2-884E-BC40B09E9461}"/>
                  </a:ext>
                </a:extLst>
              </p:cNvPr>
              <p:cNvSpPr/>
              <p:nvPr/>
            </p:nvSpPr>
            <p:spPr>
              <a:xfrm>
                <a:off x="5852433"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8" name="Freeform: Shape 127">
                <a:extLst>
                  <a:ext uri="{FF2B5EF4-FFF2-40B4-BE49-F238E27FC236}">
                    <a16:creationId xmlns:a16="http://schemas.microsoft.com/office/drawing/2014/main" id="{4E18F1FE-B933-45C8-9F4F-53DCCC1FA2CA}"/>
                  </a:ext>
                </a:extLst>
              </p:cNvPr>
              <p:cNvSpPr/>
              <p:nvPr/>
            </p:nvSpPr>
            <p:spPr>
              <a:xfrm>
                <a:off x="5911678"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29" name="Freeform: Shape 128">
                <a:extLst>
                  <a:ext uri="{FF2B5EF4-FFF2-40B4-BE49-F238E27FC236}">
                    <a16:creationId xmlns:a16="http://schemas.microsoft.com/office/drawing/2014/main" id="{8CF9F0AF-3E92-4593-88F2-0A9691F8FEA5}"/>
                  </a:ext>
                </a:extLst>
              </p:cNvPr>
              <p:cNvSpPr/>
              <p:nvPr/>
            </p:nvSpPr>
            <p:spPr>
              <a:xfrm>
                <a:off x="5970828"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0" name="Freeform: Shape 129">
                <a:extLst>
                  <a:ext uri="{FF2B5EF4-FFF2-40B4-BE49-F238E27FC236}">
                    <a16:creationId xmlns:a16="http://schemas.microsoft.com/office/drawing/2014/main" id="{5F8E407F-7C3D-4C6D-A845-CE6C18A4E19E}"/>
                  </a:ext>
                </a:extLst>
              </p:cNvPr>
              <p:cNvSpPr/>
              <p:nvPr/>
            </p:nvSpPr>
            <p:spPr>
              <a:xfrm>
                <a:off x="6030073" y="3599770"/>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1" name="Freeform: Shape 130">
                <a:extLst>
                  <a:ext uri="{FF2B5EF4-FFF2-40B4-BE49-F238E27FC236}">
                    <a16:creationId xmlns:a16="http://schemas.microsoft.com/office/drawing/2014/main" id="{65B86F18-3F82-406B-A6B8-73508323F5B1}"/>
                  </a:ext>
                </a:extLst>
              </p:cNvPr>
              <p:cNvSpPr/>
              <p:nvPr/>
            </p:nvSpPr>
            <p:spPr>
              <a:xfrm>
                <a:off x="6089224"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2" name="Freeform: Shape 131">
                <a:extLst>
                  <a:ext uri="{FF2B5EF4-FFF2-40B4-BE49-F238E27FC236}">
                    <a16:creationId xmlns:a16="http://schemas.microsoft.com/office/drawing/2014/main" id="{282DBE01-A20A-44FA-B824-6B6AE5B47541}"/>
                  </a:ext>
                </a:extLst>
              </p:cNvPr>
              <p:cNvSpPr/>
              <p:nvPr/>
            </p:nvSpPr>
            <p:spPr>
              <a:xfrm>
                <a:off x="5734037" y="3659014"/>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3" name="Freeform: Shape 132">
                <a:extLst>
                  <a:ext uri="{FF2B5EF4-FFF2-40B4-BE49-F238E27FC236}">
                    <a16:creationId xmlns:a16="http://schemas.microsoft.com/office/drawing/2014/main" id="{525BA03A-821A-451C-974A-5BC54F600152}"/>
                  </a:ext>
                </a:extLst>
              </p:cNvPr>
              <p:cNvSpPr/>
              <p:nvPr/>
            </p:nvSpPr>
            <p:spPr>
              <a:xfrm>
                <a:off x="5793282" y="3659014"/>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4" name="Freeform: Shape 133">
                <a:extLst>
                  <a:ext uri="{FF2B5EF4-FFF2-40B4-BE49-F238E27FC236}">
                    <a16:creationId xmlns:a16="http://schemas.microsoft.com/office/drawing/2014/main" id="{C4A1A8AE-42A8-458F-9647-2B1E0080C328}"/>
                  </a:ext>
                </a:extLst>
              </p:cNvPr>
              <p:cNvSpPr/>
              <p:nvPr/>
            </p:nvSpPr>
            <p:spPr>
              <a:xfrm>
                <a:off x="5852432"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5" name="Freeform: Shape 134">
                <a:extLst>
                  <a:ext uri="{FF2B5EF4-FFF2-40B4-BE49-F238E27FC236}">
                    <a16:creationId xmlns:a16="http://schemas.microsoft.com/office/drawing/2014/main" id="{1061C57A-74C4-42DF-837D-4BD2480F5637}"/>
                  </a:ext>
                </a:extLst>
              </p:cNvPr>
              <p:cNvSpPr/>
              <p:nvPr/>
            </p:nvSpPr>
            <p:spPr>
              <a:xfrm>
                <a:off x="5911678"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6" name="Freeform: Shape 135">
                <a:extLst>
                  <a:ext uri="{FF2B5EF4-FFF2-40B4-BE49-F238E27FC236}">
                    <a16:creationId xmlns:a16="http://schemas.microsoft.com/office/drawing/2014/main" id="{2E72CD8D-308B-4DA6-A9E9-29C5289A64AF}"/>
                  </a:ext>
                </a:extLst>
              </p:cNvPr>
              <p:cNvSpPr/>
              <p:nvPr/>
            </p:nvSpPr>
            <p:spPr>
              <a:xfrm>
                <a:off x="5970828"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7" name="Freeform: Shape 136">
                <a:extLst>
                  <a:ext uri="{FF2B5EF4-FFF2-40B4-BE49-F238E27FC236}">
                    <a16:creationId xmlns:a16="http://schemas.microsoft.com/office/drawing/2014/main" id="{67DA1353-3400-4417-AE74-101830D91305}"/>
                  </a:ext>
                </a:extLst>
              </p:cNvPr>
              <p:cNvSpPr/>
              <p:nvPr/>
            </p:nvSpPr>
            <p:spPr>
              <a:xfrm>
                <a:off x="6030073" y="3659014"/>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8" name="Freeform: Shape 137">
                <a:extLst>
                  <a:ext uri="{FF2B5EF4-FFF2-40B4-BE49-F238E27FC236}">
                    <a16:creationId xmlns:a16="http://schemas.microsoft.com/office/drawing/2014/main" id="{780402F0-99E7-4BC1-8B33-8C28B061254B}"/>
                  </a:ext>
                </a:extLst>
              </p:cNvPr>
              <p:cNvSpPr/>
              <p:nvPr/>
            </p:nvSpPr>
            <p:spPr>
              <a:xfrm>
                <a:off x="6089224"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9" name="Freeform: Shape 138">
                <a:extLst>
                  <a:ext uri="{FF2B5EF4-FFF2-40B4-BE49-F238E27FC236}">
                    <a16:creationId xmlns:a16="http://schemas.microsoft.com/office/drawing/2014/main" id="{D8F0B222-EDEC-4F73-BFBF-EEF77FCEFE6D}"/>
                  </a:ext>
                </a:extLst>
              </p:cNvPr>
              <p:cNvSpPr/>
              <p:nvPr/>
            </p:nvSpPr>
            <p:spPr>
              <a:xfrm>
                <a:off x="5734039" y="3718165"/>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0" name="Freeform: Shape 139">
                <a:extLst>
                  <a:ext uri="{FF2B5EF4-FFF2-40B4-BE49-F238E27FC236}">
                    <a16:creationId xmlns:a16="http://schemas.microsoft.com/office/drawing/2014/main" id="{99DFF4C5-2EF0-4C23-99F5-6FBA3C2FDECA}"/>
                  </a:ext>
                </a:extLst>
              </p:cNvPr>
              <p:cNvSpPr/>
              <p:nvPr/>
            </p:nvSpPr>
            <p:spPr>
              <a:xfrm>
                <a:off x="5793284" y="3718165"/>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1" name="Freeform: Shape 140">
                <a:extLst>
                  <a:ext uri="{FF2B5EF4-FFF2-40B4-BE49-F238E27FC236}">
                    <a16:creationId xmlns:a16="http://schemas.microsoft.com/office/drawing/2014/main" id="{42099B1E-BE83-48FA-A883-6B86E3781583}"/>
                  </a:ext>
                </a:extLst>
              </p:cNvPr>
              <p:cNvSpPr/>
              <p:nvPr/>
            </p:nvSpPr>
            <p:spPr>
              <a:xfrm>
                <a:off x="5852434"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2" name="Freeform: Shape 141">
                <a:extLst>
                  <a:ext uri="{FF2B5EF4-FFF2-40B4-BE49-F238E27FC236}">
                    <a16:creationId xmlns:a16="http://schemas.microsoft.com/office/drawing/2014/main" id="{0642570B-F261-403D-8AE5-755725C5C683}"/>
                  </a:ext>
                </a:extLst>
              </p:cNvPr>
              <p:cNvSpPr/>
              <p:nvPr/>
            </p:nvSpPr>
            <p:spPr>
              <a:xfrm>
                <a:off x="5911679"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3" name="Freeform: Shape 142">
                <a:extLst>
                  <a:ext uri="{FF2B5EF4-FFF2-40B4-BE49-F238E27FC236}">
                    <a16:creationId xmlns:a16="http://schemas.microsoft.com/office/drawing/2014/main" id="{0289D3E0-1FCD-421F-B82C-57D48531197C}"/>
                  </a:ext>
                </a:extLst>
              </p:cNvPr>
              <p:cNvSpPr/>
              <p:nvPr/>
            </p:nvSpPr>
            <p:spPr>
              <a:xfrm>
                <a:off x="5970829"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4" name="Freeform: Shape 143">
                <a:extLst>
                  <a:ext uri="{FF2B5EF4-FFF2-40B4-BE49-F238E27FC236}">
                    <a16:creationId xmlns:a16="http://schemas.microsoft.com/office/drawing/2014/main" id="{B0CDB835-A9B8-4DD1-8E4A-94CB352EBA4C}"/>
                  </a:ext>
                </a:extLst>
              </p:cNvPr>
              <p:cNvSpPr/>
              <p:nvPr/>
            </p:nvSpPr>
            <p:spPr>
              <a:xfrm>
                <a:off x="6030074" y="3718165"/>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5" name="Freeform: Shape 144">
                <a:extLst>
                  <a:ext uri="{FF2B5EF4-FFF2-40B4-BE49-F238E27FC236}">
                    <a16:creationId xmlns:a16="http://schemas.microsoft.com/office/drawing/2014/main" id="{A959ACD8-7B03-425E-A568-DD933FE53D29}"/>
                  </a:ext>
                </a:extLst>
              </p:cNvPr>
              <p:cNvSpPr/>
              <p:nvPr/>
            </p:nvSpPr>
            <p:spPr>
              <a:xfrm>
                <a:off x="6089225"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6" name="Freeform: Shape 145">
                <a:extLst>
                  <a:ext uri="{FF2B5EF4-FFF2-40B4-BE49-F238E27FC236}">
                    <a16:creationId xmlns:a16="http://schemas.microsoft.com/office/drawing/2014/main" id="{C1417EAD-6931-45DD-A71C-649A3A1E1742}"/>
                  </a:ext>
                </a:extLst>
              </p:cNvPr>
              <p:cNvSpPr/>
              <p:nvPr/>
            </p:nvSpPr>
            <p:spPr>
              <a:xfrm>
                <a:off x="5734040" y="3777410"/>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7" name="Freeform: Shape 146">
                <a:extLst>
                  <a:ext uri="{FF2B5EF4-FFF2-40B4-BE49-F238E27FC236}">
                    <a16:creationId xmlns:a16="http://schemas.microsoft.com/office/drawing/2014/main" id="{3F8F5897-91C8-4949-B3E2-08E8C4D10561}"/>
                  </a:ext>
                </a:extLst>
              </p:cNvPr>
              <p:cNvSpPr/>
              <p:nvPr/>
            </p:nvSpPr>
            <p:spPr>
              <a:xfrm>
                <a:off x="5793285" y="3777410"/>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8" name="Freeform: Shape 147">
                <a:extLst>
                  <a:ext uri="{FF2B5EF4-FFF2-40B4-BE49-F238E27FC236}">
                    <a16:creationId xmlns:a16="http://schemas.microsoft.com/office/drawing/2014/main" id="{818AF2B2-848E-432A-853D-4171DB436AB9}"/>
                  </a:ext>
                </a:extLst>
              </p:cNvPr>
              <p:cNvSpPr/>
              <p:nvPr/>
            </p:nvSpPr>
            <p:spPr>
              <a:xfrm>
                <a:off x="5852436"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9" name="Freeform: Shape 148">
                <a:extLst>
                  <a:ext uri="{FF2B5EF4-FFF2-40B4-BE49-F238E27FC236}">
                    <a16:creationId xmlns:a16="http://schemas.microsoft.com/office/drawing/2014/main" id="{A95D8E15-C401-4021-A442-B2B29505E22D}"/>
                  </a:ext>
                </a:extLst>
              </p:cNvPr>
              <p:cNvSpPr/>
              <p:nvPr/>
            </p:nvSpPr>
            <p:spPr>
              <a:xfrm>
                <a:off x="5911683"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0" name="Freeform: Shape 149">
                <a:extLst>
                  <a:ext uri="{FF2B5EF4-FFF2-40B4-BE49-F238E27FC236}">
                    <a16:creationId xmlns:a16="http://schemas.microsoft.com/office/drawing/2014/main" id="{91B6E7C4-CA47-4FE7-84A9-629E655725F3}"/>
                  </a:ext>
                </a:extLst>
              </p:cNvPr>
              <p:cNvSpPr/>
              <p:nvPr/>
            </p:nvSpPr>
            <p:spPr>
              <a:xfrm>
                <a:off x="5970835"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1" name="Freeform: Shape 150">
                <a:extLst>
                  <a:ext uri="{FF2B5EF4-FFF2-40B4-BE49-F238E27FC236}">
                    <a16:creationId xmlns:a16="http://schemas.microsoft.com/office/drawing/2014/main" id="{AD49B82B-2837-42BA-9DE4-DF33E912C8C5}"/>
                  </a:ext>
                </a:extLst>
              </p:cNvPr>
              <p:cNvSpPr/>
              <p:nvPr/>
            </p:nvSpPr>
            <p:spPr>
              <a:xfrm>
                <a:off x="6030082" y="3777410"/>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2" name="Freeform: Shape 151">
                <a:extLst>
                  <a:ext uri="{FF2B5EF4-FFF2-40B4-BE49-F238E27FC236}">
                    <a16:creationId xmlns:a16="http://schemas.microsoft.com/office/drawing/2014/main" id="{173AEBBC-7300-434A-90D2-797E21B1434C}"/>
                  </a:ext>
                </a:extLst>
              </p:cNvPr>
              <p:cNvSpPr/>
              <p:nvPr/>
            </p:nvSpPr>
            <p:spPr>
              <a:xfrm>
                <a:off x="6089231"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3" name="Freeform: Shape 152">
                <a:extLst>
                  <a:ext uri="{FF2B5EF4-FFF2-40B4-BE49-F238E27FC236}">
                    <a16:creationId xmlns:a16="http://schemas.microsoft.com/office/drawing/2014/main" id="{079F400B-1FBB-4723-AE19-B242DD4F5F4D}"/>
                  </a:ext>
                </a:extLst>
              </p:cNvPr>
              <p:cNvSpPr/>
              <p:nvPr/>
            </p:nvSpPr>
            <p:spPr>
              <a:xfrm>
                <a:off x="6148476" y="3481374"/>
                <a:ext cx="14097" cy="14096"/>
              </a:xfrm>
              <a:custGeom>
                <a:avLst/>
                <a:gdLst>
                  <a:gd name="connsiteX0" fmla="*/ 14097 w 14097"/>
                  <a:gd name="connsiteY0" fmla="*/ 7049 h 14096"/>
                  <a:gd name="connsiteX1" fmla="*/ 7049 w 14097"/>
                  <a:gd name="connsiteY1" fmla="*/ 14097 h 14096"/>
                  <a:gd name="connsiteX2" fmla="*/ 0 w 14097"/>
                  <a:gd name="connsiteY2" fmla="*/ 7049 h 14096"/>
                  <a:gd name="connsiteX3" fmla="*/ 7049 w 14097"/>
                  <a:gd name="connsiteY3" fmla="*/ 0 h 14096"/>
                  <a:gd name="connsiteX4" fmla="*/ 14097 w 14097"/>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9"/>
                    </a:moveTo>
                    <a:cubicBezTo>
                      <a:pt x="14097" y="10954"/>
                      <a:pt x="10954" y="14097"/>
                      <a:pt x="7049" y="14097"/>
                    </a:cubicBezTo>
                    <a:cubicBezTo>
                      <a:pt x="3143" y="14097"/>
                      <a:pt x="0" y="10954"/>
                      <a:pt x="0" y="7049"/>
                    </a:cubicBezTo>
                    <a:cubicBezTo>
                      <a:pt x="0" y="3143"/>
                      <a:pt x="3143" y="0"/>
                      <a:pt x="7049"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4" name="Freeform: Shape 153">
                <a:extLst>
                  <a:ext uri="{FF2B5EF4-FFF2-40B4-BE49-F238E27FC236}">
                    <a16:creationId xmlns:a16="http://schemas.microsoft.com/office/drawing/2014/main" id="{F3220893-28AF-4796-89C4-497A3E0F7375}"/>
                  </a:ext>
                </a:extLst>
              </p:cNvPr>
              <p:cNvSpPr/>
              <p:nvPr/>
            </p:nvSpPr>
            <p:spPr>
              <a:xfrm>
                <a:off x="6207627"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5" name="Freeform: Shape 154">
                <a:extLst>
                  <a:ext uri="{FF2B5EF4-FFF2-40B4-BE49-F238E27FC236}">
                    <a16:creationId xmlns:a16="http://schemas.microsoft.com/office/drawing/2014/main" id="{E37B6154-8BF3-4B1F-8CE6-4E1F92E2A756}"/>
                  </a:ext>
                </a:extLst>
              </p:cNvPr>
              <p:cNvSpPr/>
              <p:nvPr/>
            </p:nvSpPr>
            <p:spPr>
              <a:xfrm>
                <a:off x="6266872" y="3481374"/>
                <a:ext cx="14096" cy="14096"/>
              </a:xfrm>
              <a:custGeom>
                <a:avLst/>
                <a:gdLst>
                  <a:gd name="connsiteX0" fmla="*/ 14097 w 14096"/>
                  <a:gd name="connsiteY0" fmla="*/ 7049 h 14096"/>
                  <a:gd name="connsiteX1" fmla="*/ 7049 w 14096"/>
                  <a:gd name="connsiteY1" fmla="*/ 14097 h 14096"/>
                  <a:gd name="connsiteX2" fmla="*/ 0 w 14096"/>
                  <a:gd name="connsiteY2" fmla="*/ 7049 h 14096"/>
                  <a:gd name="connsiteX3" fmla="*/ 7049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9" y="14097"/>
                    </a:cubicBezTo>
                    <a:cubicBezTo>
                      <a:pt x="3143" y="14097"/>
                      <a:pt x="0" y="10954"/>
                      <a:pt x="0" y="7049"/>
                    </a:cubicBezTo>
                    <a:cubicBezTo>
                      <a:pt x="0" y="3143"/>
                      <a:pt x="3143" y="0"/>
                      <a:pt x="7049" y="0"/>
                    </a:cubicBezTo>
                    <a:cubicBezTo>
                      <a:pt x="10859"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6" name="Freeform: Shape 155">
                <a:extLst>
                  <a:ext uri="{FF2B5EF4-FFF2-40B4-BE49-F238E27FC236}">
                    <a16:creationId xmlns:a16="http://schemas.microsoft.com/office/drawing/2014/main" id="{AF054118-31C5-405F-98FD-C52552668115}"/>
                  </a:ext>
                </a:extLst>
              </p:cNvPr>
              <p:cNvSpPr/>
              <p:nvPr/>
            </p:nvSpPr>
            <p:spPr>
              <a:xfrm>
                <a:off x="6326022"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7" name="Freeform: Shape 156">
                <a:extLst>
                  <a:ext uri="{FF2B5EF4-FFF2-40B4-BE49-F238E27FC236}">
                    <a16:creationId xmlns:a16="http://schemas.microsoft.com/office/drawing/2014/main" id="{BC580ECA-94B5-4EEE-8B3E-D13068010A85}"/>
                  </a:ext>
                </a:extLst>
              </p:cNvPr>
              <p:cNvSpPr/>
              <p:nvPr/>
            </p:nvSpPr>
            <p:spPr>
              <a:xfrm>
                <a:off x="6385268"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858" y="0"/>
                      <a:pt x="14097" y="3143"/>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8" name="Freeform: Shape 157">
                <a:extLst>
                  <a:ext uri="{FF2B5EF4-FFF2-40B4-BE49-F238E27FC236}">
                    <a16:creationId xmlns:a16="http://schemas.microsoft.com/office/drawing/2014/main" id="{B5EC5FD6-0D19-498D-BDFC-1C65B1405374}"/>
                  </a:ext>
                </a:extLst>
              </p:cNvPr>
              <p:cNvSpPr/>
              <p:nvPr/>
            </p:nvSpPr>
            <p:spPr>
              <a:xfrm>
                <a:off x="6444417" y="3481373"/>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41"/>
                      <a:pt x="10941" y="14097"/>
                      <a:pt x="7048" y="14097"/>
                    </a:cubicBezTo>
                    <a:cubicBezTo>
                      <a:pt x="3156" y="14097"/>
                      <a:pt x="0" y="10941"/>
                      <a:pt x="0" y="7049"/>
                    </a:cubicBezTo>
                    <a:cubicBezTo>
                      <a:pt x="0" y="3156"/>
                      <a:pt x="3156" y="0"/>
                      <a:pt x="7048" y="0"/>
                    </a:cubicBezTo>
                    <a:cubicBezTo>
                      <a:pt x="10941" y="0"/>
                      <a:pt x="14097" y="3156"/>
                      <a:pt x="14097" y="704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9" name="Freeform: Shape 158">
                <a:extLst>
                  <a:ext uri="{FF2B5EF4-FFF2-40B4-BE49-F238E27FC236}">
                    <a16:creationId xmlns:a16="http://schemas.microsoft.com/office/drawing/2014/main" id="{1F47A1FC-F8D5-4DF4-B1D1-0B0F9CD2BD6C}"/>
                  </a:ext>
                </a:extLst>
              </p:cNvPr>
              <p:cNvSpPr/>
              <p:nvPr/>
            </p:nvSpPr>
            <p:spPr>
              <a:xfrm>
                <a:off x="6148476" y="3540622"/>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0" name="Freeform: Shape 159">
                <a:extLst>
                  <a:ext uri="{FF2B5EF4-FFF2-40B4-BE49-F238E27FC236}">
                    <a16:creationId xmlns:a16="http://schemas.microsoft.com/office/drawing/2014/main" id="{503D5622-B726-487F-B57C-23162F37592D}"/>
                  </a:ext>
                </a:extLst>
              </p:cNvPr>
              <p:cNvSpPr/>
              <p:nvPr/>
            </p:nvSpPr>
            <p:spPr>
              <a:xfrm>
                <a:off x="6207627" y="354062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1" name="Freeform: Shape 160">
                <a:extLst>
                  <a:ext uri="{FF2B5EF4-FFF2-40B4-BE49-F238E27FC236}">
                    <a16:creationId xmlns:a16="http://schemas.microsoft.com/office/drawing/2014/main" id="{25E5A90C-2EF7-4B6F-A358-5BB4E600DD66}"/>
                  </a:ext>
                </a:extLst>
              </p:cNvPr>
              <p:cNvSpPr/>
              <p:nvPr/>
            </p:nvSpPr>
            <p:spPr>
              <a:xfrm>
                <a:off x="6266872" y="3540626"/>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2" name="Freeform: Shape 161">
                <a:extLst>
                  <a:ext uri="{FF2B5EF4-FFF2-40B4-BE49-F238E27FC236}">
                    <a16:creationId xmlns:a16="http://schemas.microsoft.com/office/drawing/2014/main" id="{302D610A-8A29-4084-9D8E-4D2CC0453FA3}"/>
                  </a:ext>
                </a:extLst>
              </p:cNvPr>
              <p:cNvSpPr/>
              <p:nvPr/>
            </p:nvSpPr>
            <p:spPr>
              <a:xfrm>
                <a:off x="6326022" y="3540627"/>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3" name="Freeform: Shape 162">
                <a:extLst>
                  <a:ext uri="{FF2B5EF4-FFF2-40B4-BE49-F238E27FC236}">
                    <a16:creationId xmlns:a16="http://schemas.microsoft.com/office/drawing/2014/main" id="{4512BE54-08BA-409A-9F16-0B3A63534F25}"/>
                  </a:ext>
                </a:extLst>
              </p:cNvPr>
              <p:cNvSpPr/>
              <p:nvPr/>
            </p:nvSpPr>
            <p:spPr>
              <a:xfrm>
                <a:off x="6385268" y="354063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4" name="Freeform: Shape 163">
                <a:extLst>
                  <a:ext uri="{FF2B5EF4-FFF2-40B4-BE49-F238E27FC236}">
                    <a16:creationId xmlns:a16="http://schemas.microsoft.com/office/drawing/2014/main" id="{21517A1B-623C-4FB6-A8DE-C70DE126139A}"/>
                  </a:ext>
                </a:extLst>
              </p:cNvPr>
              <p:cNvSpPr/>
              <p:nvPr/>
            </p:nvSpPr>
            <p:spPr>
              <a:xfrm>
                <a:off x="6444417" y="3540631"/>
                <a:ext cx="14096" cy="14097"/>
              </a:xfrm>
              <a:custGeom>
                <a:avLst/>
                <a:gdLst>
                  <a:gd name="connsiteX0" fmla="*/ 14097 w 14096"/>
                  <a:gd name="connsiteY0" fmla="*/ 7048 h 14097"/>
                  <a:gd name="connsiteX1" fmla="*/ 7048 w 14096"/>
                  <a:gd name="connsiteY1" fmla="*/ 14097 h 14097"/>
                  <a:gd name="connsiteX2" fmla="*/ 0 w 14096"/>
                  <a:gd name="connsiteY2" fmla="*/ 7048 h 14097"/>
                  <a:gd name="connsiteX3" fmla="*/ 7048 w 14096"/>
                  <a:gd name="connsiteY3" fmla="*/ 0 h 14097"/>
                  <a:gd name="connsiteX4" fmla="*/ 14097 w 14096"/>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8"/>
                    </a:moveTo>
                    <a:cubicBezTo>
                      <a:pt x="14097" y="10941"/>
                      <a:pt x="10941" y="14097"/>
                      <a:pt x="7048" y="14097"/>
                    </a:cubicBezTo>
                    <a:cubicBezTo>
                      <a:pt x="3156" y="14097"/>
                      <a:pt x="0" y="10941"/>
                      <a:pt x="0" y="7048"/>
                    </a:cubicBezTo>
                    <a:cubicBezTo>
                      <a:pt x="0" y="3156"/>
                      <a:pt x="3156" y="0"/>
                      <a:pt x="7048"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5" name="Freeform: Shape 164">
                <a:extLst>
                  <a:ext uri="{FF2B5EF4-FFF2-40B4-BE49-F238E27FC236}">
                    <a16:creationId xmlns:a16="http://schemas.microsoft.com/office/drawing/2014/main" id="{8F788AA1-211E-4C56-B36D-9863A62BC9E9}"/>
                  </a:ext>
                </a:extLst>
              </p:cNvPr>
              <p:cNvSpPr/>
              <p:nvPr/>
            </p:nvSpPr>
            <p:spPr>
              <a:xfrm>
                <a:off x="6148476" y="3599781"/>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6" name="Freeform: Shape 165">
                <a:extLst>
                  <a:ext uri="{FF2B5EF4-FFF2-40B4-BE49-F238E27FC236}">
                    <a16:creationId xmlns:a16="http://schemas.microsoft.com/office/drawing/2014/main" id="{8B12D240-C258-4FE9-A423-E46A6773F17B}"/>
                  </a:ext>
                </a:extLst>
              </p:cNvPr>
              <p:cNvSpPr/>
              <p:nvPr/>
            </p:nvSpPr>
            <p:spPr>
              <a:xfrm>
                <a:off x="6207627" y="359978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7" name="Freeform: Shape 166">
                <a:extLst>
                  <a:ext uri="{FF2B5EF4-FFF2-40B4-BE49-F238E27FC236}">
                    <a16:creationId xmlns:a16="http://schemas.microsoft.com/office/drawing/2014/main" id="{1A0AAA9A-6C12-4257-AC9C-FBFA0F0EEE0F}"/>
                  </a:ext>
                </a:extLst>
              </p:cNvPr>
              <p:cNvSpPr/>
              <p:nvPr/>
            </p:nvSpPr>
            <p:spPr>
              <a:xfrm>
                <a:off x="6266872" y="3599781"/>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8" name="Freeform: Shape 167">
                <a:extLst>
                  <a:ext uri="{FF2B5EF4-FFF2-40B4-BE49-F238E27FC236}">
                    <a16:creationId xmlns:a16="http://schemas.microsoft.com/office/drawing/2014/main" id="{61819836-2D65-4DA6-B1B2-20437FAD689A}"/>
                  </a:ext>
                </a:extLst>
              </p:cNvPr>
              <p:cNvSpPr/>
              <p:nvPr/>
            </p:nvSpPr>
            <p:spPr>
              <a:xfrm>
                <a:off x="6326022" y="359978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9" name="Freeform: Shape 168">
                <a:extLst>
                  <a:ext uri="{FF2B5EF4-FFF2-40B4-BE49-F238E27FC236}">
                    <a16:creationId xmlns:a16="http://schemas.microsoft.com/office/drawing/2014/main" id="{F89C4CF7-D75F-44C1-BC4D-DE7AA1E0D642}"/>
                  </a:ext>
                </a:extLst>
              </p:cNvPr>
              <p:cNvSpPr/>
              <p:nvPr/>
            </p:nvSpPr>
            <p:spPr>
              <a:xfrm>
                <a:off x="6385268" y="359978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0" name="Freeform: Shape 169">
                <a:extLst>
                  <a:ext uri="{FF2B5EF4-FFF2-40B4-BE49-F238E27FC236}">
                    <a16:creationId xmlns:a16="http://schemas.microsoft.com/office/drawing/2014/main" id="{A00CB392-768D-49BF-BA72-092945C55ACD}"/>
                  </a:ext>
                </a:extLst>
              </p:cNvPr>
              <p:cNvSpPr/>
              <p:nvPr/>
            </p:nvSpPr>
            <p:spPr>
              <a:xfrm>
                <a:off x="6444417" y="3599782"/>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1" name="Freeform: Shape 170">
                <a:extLst>
                  <a:ext uri="{FF2B5EF4-FFF2-40B4-BE49-F238E27FC236}">
                    <a16:creationId xmlns:a16="http://schemas.microsoft.com/office/drawing/2014/main" id="{CF276FAA-41F5-4B48-9482-8481D80FD916}"/>
                  </a:ext>
                </a:extLst>
              </p:cNvPr>
              <p:cNvSpPr/>
              <p:nvPr/>
            </p:nvSpPr>
            <p:spPr>
              <a:xfrm>
                <a:off x="6148476" y="3659026"/>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2" name="Freeform: Shape 171">
                <a:extLst>
                  <a:ext uri="{FF2B5EF4-FFF2-40B4-BE49-F238E27FC236}">
                    <a16:creationId xmlns:a16="http://schemas.microsoft.com/office/drawing/2014/main" id="{B023AAE1-1E09-438C-94E4-1AA2E1261749}"/>
                  </a:ext>
                </a:extLst>
              </p:cNvPr>
              <p:cNvSpPr/>
              <p:nvPr/>
            </p:nvSpPr>
            <p:spPr>
              <a:xfrm>
                <a:off x="6207627"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3" name="Freeform: Shape 172">
                <a:extLst>
                  <a:ext uri="{FF2B5EF4-FFF2-40B4-BE49-F238E27FC236}">
                    <a16:creationId xmlns:a16="http://schemas.microsoft.com/office/drawing/2014/main" id="{6AF45571-CE43-461D-A8D7-2B47BADAC7A2}"/>
                  </a:ext>
                </a:extLst>
              </p:cNvPr>
              <p:cNvSpPr/>
              <p:nvPr/>
            </p:nvSpPr>
            <p:spPr>
              <a:xfrm>
                <a:off x="6266872" y="3659026"/>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4" name="Freeform: Shape 173">
                <a:extLst>
                  <a:ext uri="{FF2B5EF4-FFF2-40B4-BE49-F238E27FC236}">
                    <a16:creationId xmlns:a16="http://schemas.microsoft.com/office/drawing/2014/main" id="{D5EB8CB6-6D13-433E-A200-C3F33606CBA0}"/>
                  </a:ext>
                </a:extLst>
              </p:cNvPr>
              <p:cNvSpPr/>
              <p:nvPr/>
            </p:nvSpPr>
            <p:spPr>
              <a:xfrm>
                <a:off x="6326022"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5" name="Freeform: Shape 174">
                <a:extLst>
                  <a:ext uri="{FF2B5EF4-FFF2-40B4-BE49-F238E27FC236}">
                    <a16:creationId xmlns:a16="http://schemas.microsoft.com/office/drawing/2014/main" id="{F97E0D79-0FE9-4E61-B180-D44663AE43FB}"/>
                  </a:ext>
                </a:extLst>
              </p:cNvPr>
              <p:cNvSpPr/>
              <p:nvPr/>
            </p:nvSpPr>
            <p:spPr>
              <a:xfrm>
                <a:off x="6385268"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6" name="Freeform: Shape 175">
                <a:extLst>
                  <a:ext uri="{FF2B5EF4-FFF2-40B4-BE49-F238E27FC236}">
                    <a16:creationId xmlns:a16="http://schemas.microsoft.com/office/drawing/2014/main" id="{0E7A30CB-3A49-440A-8BFF-DDECDE64AFB9}"/>
                  </a:ext>
                </a:extLst>
              </p:cNvPr>
              <p:cNvSpPr/>
              <p:nvPr/>
            </p:nvSpPr>
            <p:spPr>
              <a:xfrm>
                <a:off x="6444417"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7" name="Freeform: Shape 176">
                <a:extLst>
                  <a:ext uri="{FF2B5EF4-FFF2-40B4-BE49-F238E27FC236}">
                    <a16:creationId xmlns:a16="http://schemas.microsoft.com/office/drawing/2014/main" id="{2C9C1DFA-72DD-49AD-8233-893910818926}"/>
                  </a:ext>
                </a:extLst>
              </p:cNvPr>
              <p:cNvSpPr/>
              <p:nvPr/>
            </p:nvSpPr>
            <p:spPr>
              <a:xfrm>
                <a:off x="6148476" y="3718177"/>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8" name="Freeform: Shape 177">
                <a:extLst>
                  <a:ext uri="{FF2B5EF4-FFF2-40B4-BE49-F238E27FC236}">
                    <a16:creationId xmlns:a16="http://schemas.microsoft.com/office/drawing/2014/main" id="{01E06A40-B44B-42D2-8166-86EA71277133}"/>
                  </a:ext>
                </a:extLst>
              </p:cNvPr>
              <p:cNvSpPr/>
              <p:nvPr/>
            </p:nvSpPr>
            <p:spPr>
              <a:xfrm>
                <a:off x="6207627" y="3718177"/>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9" name="Freeform: Shape 178">
                <a:extLst>
                  <a:ext uri="{FF2B5EF4-FFF2-40B4-BE49-F238E27FC236}">
                    <a16:creationId xmlns:a16="http://schemas.microsoft.com/office/drawing/2014/main" id="{AAD1390C-B164-4DA1-8585-4920E900C857}"/>
                  </a:ext>
                </a:extLst>
              </p:cNvPr>
              <p:cNvSpPr/>
              <p:nvPr/>
            </p:nvSpPr>
            <p:spPr>
              <a:xfrm>
                <a:off x="6266872" y="3718177"/>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0" name="Freeform: Shape 179">
                <a:extLst>
                  <a:ext uri="{FF2B5EF4-FFF2-40B4-BE49-F238E27FC236}">
                    <a16:creationId xmlns:a16="http://schemas.microsoft.com/office/drawing/2014/main" id="{6E37C65D-A0AE-4C3D-871A-FC32207011DF}"/>
                  </a:ext>
                </a:extLst>
              </p:cNvPr>
              <p:cNvSpPr/>
              <p:nvPr/>
            </p:nvSpPr>
            <p:spPr>
              <a:xfrm>
                <a:off x="6326022" y="3718177"/>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1" name="Freeform: Shape 180">
                <a:extLst>
                  <a:ext uri="{FF2B5EF4-FFF2-40B4-BE49-F238E27FC236}">
                    <a16:creationId xmlns:a16="http://schemas.microsoft.com/office/drawing/2014/main" id="{0F946D8A-AA88-4AD8-8CFC-060E4352D7C7}"/>
                  </a:ext>
                </a:extLst>
              </p:cNvPr>
              <p:cNvSpPr/>
              <p:nvPr/>
            </p:nvSpPr>
            <p:spPr>
              <a:xfrm>
                <a:off x="6385268" y="3718172"/>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2" name="Freeform: Shape 181">
                <a:extLst>
                  <a:ext uri="{FF2B5EF4-FFF2-40B4-BE49-F238E27FC236}">
                    <a16:creationId xmlns:a16="http://schemas.microsoft.com/office/drawing/2014/main" id="{26C69E7E-139D-4304-9A47-E443E0325007}"/>
                  </a:ext>
                </a:extLst>
              </p:cNvPr>
              <p:cNvSpPr/>
              <p:nvPr/>
            </p:nvSpPr>
            <p:spPr>
              <a:xfrm>
                <a:off x="6444417" y="371817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3" name="Freeform: Shape 182">
                <a:extLst>
                  <a:ext uri="{FF2B5EF4-FFF2-40B4-BE49-F238E27FC236}">
                    <a16:creationId xmlns:a16="http://schemas.microsoft.com/office/drawing/2014/main" id="{643619BB-998A-4688-9EA8-E1A29493B652}"/>
                  </a:ext>
                </a:extLst>
              </p:cNvPr>
              <p:cNvSpPr/>
              <p:nvPr/>
            </p:nvSpPr>
            <p:spPr>
              <a:xfrm>
                <a:off x="6148472" y="3777419"/>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4" name="Freeform: Shape 183">
                <a:extLst>
                  <a:ext uri="{FF2B5EF4-FFF2-40B4-BE49-F238E27FC236}">
                    <a16:creationId xmlns:a16="http://schemas.microsoft.com/office/drawing/2014/main" id="{CA567F32-881E-43C4-BBB0-CDDAFDD276A3}"/>
                  </a:ext>
                </a:extLst>
              </p:cNvPr>
              <p:cNvSpPr/>
              <p:nvPr/>
            </p:nvSpPr>
            <p:spPr>
              <a:xfrm>
                <a:off x="6207622" y="3777419"/>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5" name="Freeform: Shape 184">
                <a:extLst>
                  <a:ext uri="{FF2B5EF4-FFF2-40B4-BE49-F238E27FC236}">
                    <a16:creationId xmlns:a16="http://schemas.microsoft.com/office/drawing/2014/main" id="{D1E4C6D4-84CE-4DDC-AC0F-FEDBD9A4BC7B}"/>
                  </a:ext>
                </a:extLst>
              </p:cNvPr>
              <p:cNvSpPr/>
              <p:nvPr/>
            </p:nvSpPr>
            <p:spPr>
              <a:xfrm>
                <a:off x="6266868" y="3777419"/>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6" name="Freeform: Shape 185">
                <a:extLst>
                  <a:ext uri="{FF2B5EF4-FFF2-40B4-BE49-F238E27FC236}">
                    <a16:creationId xmlns:a16="http://schemas.microsoft.com/office/drawing/2014/main" id="{0A2F5831-8F83-4A7E-8185-CA727AF7CAA1}"/>
                  </a:ext>
                </a:extLst>
              </p:cNvPr>
              <p:cNvSpPr/>
              <p:nvPr/>
            </p:nvSpPr>
            <p:spPr>
              <a:xfrm>
                <a:off x="6326024" y="3777383"/>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7" name="Freeform: Shape 186">
                <a:extLst>
                  <a:ext uri="{FF2B5EF4-FFF2-40B4-BE49-F238E27FC236}">
                    <a16:creationId xmlns:a16="http://schemas.microsoft.com/office/drawing/2014/main" id="{33B1C91A-AFEE-4375-83C7-8C346ECB6CB6}"/>
                  </a:ext>
                </a:extLst>
              </p:cNvPr>
              <p:cNvSpPr/>
              <p:nvPr/>
            </p:nvSpPr>
            <p:spPr>
              <a:xfrm>
                <a:off x="6385287" y="3777429"/>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8" name="Freeform: Shape 187">
                <a:extLst>
                  <a:ext uri="{FF2B5EF4-FFF2-40B4-BE49-F238E27FC236}">
                    <a16:creationId xmlns:a16="http://schemas.microsoft.com/office/drawing/2014/main" id="{8F328456-0E85-48D3-820F-81CCF861C7C0}"/>
                  </a:ext>
                </a:extLst>
              </p:cNvPr>
              <p:cNvSpPr/>
              <p:nvPr/>
            </p:nvSpPr>
            <p:spPr>
              <a:xfrm>
                <a:off x="6444424" y="377742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41"/>
                      <a:pt x="10941" y="14097"/>
                      <a:pt x="7048" y="14097"/>
                    </a:cubicBezTo>
                    <a:cubicBezTo>
                      <a:pt x="3156" y="14097"/>
                      <a:pt x="0" y="10941"/>
                      <a:pt x="0" y="7048"/>
                    </a:cubicBezTo>
                    <a:cubicBezTo>
                      <a:pt x="0" y="3156"/>
                      <a:pt x="3156" y="0"/>
                      <a:pt x="7048" y="0"/>
                    </a:cubicBezTo>
                    <a:cubicBezTo>
                      <a:pt x="10941" y="0"/>
                      <a:pt x="14097" y="3156"/>
                      <a:pt x="14097" y="704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grpSp>
      </p:grpSp>
    </p:spTree>
    <p:extLst>
      <p:ext uri="{BB962C8B-B14F-4D97-AF65-F5344CB8AC3E}">
        <p14:creationId xmlns:p14="http://schemas.microsoft.com/office/powerpoint/2010/main" val="3050705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37" name="Freeform: Shape 36">
            <a:extLst>
              <a:ext uri="{FF2B5EF4-FFF2-40B4-BE49-F238E27FC236}">
                <a16:creationId xmlns:a16="http://schemas.microsoft.com/office/drawing/2014/main" id="{9B6909CF-743B-4DF1-8060-7377C3B0EC96}"/>
              </a:ext>
              <a:ext uri="{C183D7F6-B498-43B3-948B-1728B52AA6E4}">
                <adec:decorative xmlns:adec="http://schemas.microsoft.com/office/drawing/2017/decorative" val="1"/>
              </a:ext>
            </a:extLst>
          </p:cNvPr>
          <p:cNvSpPr/>
          <p:nvPr userDrawn="1"/>
        </p:nvSpPr>
        <p:spPr>
          <a:xfrm>
            <a:off x="1408103" y="-15159"/>
            <a:ext cx="4902679" cy="4616801"/>
          </a:xfrm>
          <a:custGeom>
            <a:avLst/>
            <a:gdLst>
              <a:gd name="connsiteX0" fmla="*/ 1825048 w 6355652"/>
              <a:gd name="connsiteY0" fmla="*/ 0 h 6050127"/>
              <a:gd name="connsiteX1" fmla="*/ 4530604 w 6355652"/>
              <a:gd name="connsiteY1" fmla="*/ 0 h 6050127"/>
              <a:gd name="connsiteX2" fmla="*/ 4692567 w 6355652"/>
              <a:gd name="connsiteY2" fmla="*/ 78022 h 6050127"/>
              <a:gd name="connsiteX3" fmla="*/ 6355652 w 6355652"/>
              <a:gd name="connsiteY3" fmla="*/ 2872301 h 6050127"/>
              <a:gd name="connsiteX4" fmla="*/ 3177826 w 6355652"/>
              <a:gd name="connsiteY4" fmla="*/ 6050127 h 6050127"/>
              <a:gd name="connsiteX5" fmla="*/ 0 w 6355652"/>
              <a:gd name="connsiteY5" fmla="*/ 2872301 h 6050127"/>
              <a:gd name="connsiteX6" fmla="*/ 1663086 w 6355652"/>
              <a:gd name="connsiteY6" fmla="*/ 78022 h 6050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5652" h="6050127">
                <a:moveTo>
                  <a:pt x="1825048" y="0"/>
                </a:moveTo>
                <a:lnTo>
                  <a:pt x="4530604" y="0"/>
                </a:lnTo>
                <a:lnTo>
                  <a:pt x="4692567" y="78022"/>
                </a:lnTo>
                <a:cubicBezTo>
                  <a:pt x="5683175" y="616152"/>
                  <a:pt x="6355652" y="1665694"/>
                  <a:pt x="6355652" y="2872301"/>
                </a:cubicBezTo>
                <a:cubicBezTo>
                  <a:pt x="6355652" y="4627366"/>
                  <a:pt x="4932891" y="6050127"/>
                  <a:pt x="3177826" y="6050127"/>
                </a:cubicBezTo>
                <a:cubicBezTo>
                  <a:pt x="1422761" y="6050127"/>
                  <a:pt x="0" y="4627366"/>
                  <a:pt x="0" y="2872301"/>
                </a:cubicBezTo>
                <a:cubicBezTo>
                  <a:pt x="0" y="1665694"/>
                  <a:pt x="672477" y="616152"/>
                  <a:pt x="1663086" y="78022"/>
                </a:cubicBezTo>
                <a:close/>
              </a:path>
            </a:pathLst>
          </a:cu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grpSp>
        <p:nvGrpSpPr>
          <p:cNvPr id="38" name="Group 37">
            <a:extLst>
              <a:ext uri="{FF2B5EF4-FFF2-40B4-BE49-F238E27FC236}">
                <a16:creationId xmlns:a16="http://schemas.microsoft.com/office/drawing/2014/main" id="{5525794F-443C-40B3-AC9C-14F574B044C9}"/>
              </a:ext>
              <a:ext uri="{C183D7F6-B498-43B3-948B-1728B52AA6E4}">
                <adec:decorative xmlns:adec="http://schemas.microsoft.com/office/drawing/2017/decorative" val="1"/>
              </a:ext>
            </a:extLst>
          </p:cNvPr>
          <p:cNvGrpSpPr/>
          <p:nvPr userDrawn="1"/>
        </p:nvGrpSpPr>
        <p:grpSpPr>
          <a:xfrm>
            <a:off x="0" y="1479558"/>
            <a:ext cx="1861854" cy="717514"/>
            <a:chOff x="0" y="1479558"/>
            <a:chExt cx="1861854" cy="717514"/>
          </a:xfrm>
          <a:solidFill>
            <a:schemeClr val="tx1"/>
          </a:solidFill>
        </p:grpSpPr>
        <p:sp>
          <p:nvSpPr>
            <p:cNvPr id="39" name="Freeform: Shape 38">
              <a:extLst>
                <a:ext uri="{FF2B5EF4-FFF2-40B4-BE49-F238E27FC236}">
                  <a16:creationId xmlns:a16="http://schemas.microsoft.com/office/drawing/2014/main" id="{D60C3E59-61BE-442E-9897-D92166F40D31}"/>
                </a:ext>
              </a:extLst>
            </p:cNvPr>
            <p:cNvSpPr/>
            <p:nvPr/>
          </p:nvSpPr>
          <p:spPr>
            <a:xfrm>
              <a:off x="0" y="1479558"/>
              <a:ext cx="1861854" cy="277779"/>
            </a:xfrm>
            <a:custGeom>
              <a:avLst/>
              <a:gdLst>
                <a:gd name="connsiteX0" fmla="*/ 180458 w 1861854"/>
                <a:gd name="connsiteY0" fmla="*/ 0 h 277779"/>
                <a:gd name="connsiteX1" fmla="*/ 419222 w 1861854"/>
                <a:gd name="connsiteY1" fmla="*/ 238761 h 277779"/>
                <a:gd name="connsiteX2" fmla="*/ 657984 w 1861854"/>
                <a:gd name="connsiteY2" fmla="*/ 0 h 277779"/>
                <a:gd name="connsiteX3" fmla="*/ 896745 w 1861854"/>
                <a:gd name="connsiteY3" fmla="*/ 238761 h 277779"/>
                <a:gd name="connsiteX4" fmla="*/ 1135754 w 1861854"/>
                <a:gd name="connsiteY4" fmla="*/ 0 h 277779"/>
                <a:gd name="connsiteX5" fmla="*/ 1374516 w 1861854"/>
                <a:gd name="connsiteY5" fmla="*/ 238761 h 277779"/>
                <a:gd name="connsiteX6" fmla="*/ 1613277 w 1861854"/>
                <a:gd name="connsiteY6" fmla="*/ 0 h 277779"/>
                <a:gd name="connsiteX7" fmla="*/ 1861854 w 1861854"/>
                <a:gd name="connsiteY7" fmla="*/ 248577 h 277779"/>
                <a:gd name="connsiteX8" fmla="*/ 1842470 w 1861854"/>
                <a:gd name="connsiteY8" fmla="*/ 267963 h 277779"/>
                <a:gd name="connsiteX9" fmla="*/ 1613277 w 1861854"/>
                <a:gd name="connsiteY9" fmla="*/ 39017 h 277779"/>
                <a:gd name="connsiteX10" fmla="*/ 1374516 w 1861854"/>
                <a:gd name="connsiteY10" fmla="*/ 277779 h 277779"/>
                <a:gd name="connsiteX11" fmla="*/ 1135754 w 1861854"/>
                <a:gd name="connsiteY11" fmla="*/ 39017 h 277779"/>
                <a:gd name="connsiteX12" fmla="*/ 896745 w 1861854"/>
                <a:gd name="connsiteY12" fmla="*/ 277779 h 277779"/>
                <a:gd name="connsiteX13" fmla="*/ 657984 w 1861854"/>
                <a:gd name="connsiteY13" fmla="*/ 39017 h 277779"/>
                <a:gd name="connsiteX14" fmla="*/ 419222 w 1861854"/>
                <a:gd name="connsiteY14" fmla="*/ 277779 h 277779"/>
                <a:gd name="connsiteX15" fmla="*/ 180458 w 1861854"/>
                <a:gd name="connsiteY15" fmla="*/ 39017 h 277779"/>
                <a:gd name="connsiteX16" fmla="*/ 0 w 1861854"/>
                <a:gd name="connsiteY16" fmla="*/ 219283 h 277779"/>
                <a:gd name="connsiteX17" fmla="*/ 0 w 1861854"/>
                <a:gd name="connsiteY17" fmla="*/ 180458 h 27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1854" h="277779">
                  <a:moveTo>
                    <a:pt x="180458" y="0"/>
                  </a:moveTo>
                  <a:lnTo>
                    <a:pt x="419222" y="238761"/>
                  </a:lnTo>
                  <a:lnTo>
                    <a:pt x="657984" y="0"/>
                  </a:lnTo>
                  <a:lnTo>
                    <a:pt x="896745" y="238761"/>
                  </a:lnTo>
                  <a:lnTo>
                    <a:pt x="1135754" y="0"/>
                  </a:lnTo>
                  <a:lnTo>
                    <a:pt x="1374516" y="238761"/>
                  </a:lnTo>
                  <a:lnTo>
                    <a:pt x="1613277" y="0"/>
                  </a:lnTo>
                  <a:lnTo>
                    <a:pt x="1861854" y="248577"/>
                  </a:lnTo>
                  <a:lnTo>
                    <a:pt x="1842470" y="267963"/>
                  </a:lnTo>
                  <a:lnTo>
                    <a:pt x="1613277" y="39017"/>
                  </a:lnTo>
                  <a:lnTo>
                    <a:pt x="1374516" y="277779"/>
                  </a:lnTo>
                  <a:lnTo>
                    <a:pt x="1135754" y="39017"/>
                  </a:lnTo>
                  <a:lnTo>
                    <a:pt x="896745" y="277779"/>
                  </a:lnTo>
                  <a:lnTo>
                    <a:pt x="657984" y="39017"/>
                  </a:lnTo>
                  <a:lnTo>
                    <a:pt x="419222" y="277779"/>
                  </a:lnTo>
                  <a:lnTo>
                    <a:pt x="180458" y="39017"/>
                  </a:lnTo>
                  <a:lnTo>
                    <a:pt x="0" y="219283"/>
                  </a:lnTo>
                  <a:lnTo>
                    <a:pt x="0" y="180458"/>
                  </a:lnTo>
                  <a:close/>
                </a:path>
              </a:pathLst>
            </a:custGeom>
            <a:grp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0" name="Freeform: Shape 39">
              <a:extLst>
                <a:ext uri="{FF2B5EF4-FFF2-40B4-BE49-F238E27FC236}">
                  <a16:creationId xmlns:a16="http://schemas.microsoft.com/office/drawing/2014/main" id="{12C7B4DA-5162-484A-9B4D-A784EF13976B}"/>
                </a:ext>
              </a:extLst>
            </p:cNvPr>
            <p:cNvSpPr/>
            <p:nvPr/>
          </p:nvSpPr>
          <p:spPr>
            <a:xfrm>
              <a:off x="0" y="1919293"/>
              <a:ext cx="1861854" cy="277779"/>
            </a:xfrm>
            <a:custGeom>
              <a:avLst/>
              <a:gdLst>
                <a:gd name="connsiteX0" fmla="*/ 180458 w 1861854"/>
                <a:gd name="connsiteY0" fmla="*/ 0 h 277779"/>
                <a:gd name="connsiteX1" fmla="*/ 419222 w 1861854"/>
                <a:gd name="connsiteY1" fmla="*/ 238761 h 277779"/>
                <a:gd name="connsiteX2" fmla="*/ 657984 w 1861854"/>
                <a:gd name="connsiteY2" fmla="*/ 0 h 277779"/>
                <a:gd name="connsiteX3" fmla="*/ 896745 w 1861854"/>
                <a:gd name="connsiteY3" fmla="*/ 238761 h 277779"/>
                <a:gd name="connsiteX4" fmla="*/ 1135754 w 1861854"/>
                <a:gd name="connsiteY4" fmla="*/ 0 h 277779"/>
                <a:gd name="connsiteX5" fmla="*/ 1374516 w 1861854"/>
                <a:gd name="connsiteY5" fmla="*/ 238761 h 277779"/>
                <a:gd name="connsiteX6" fmla="*/ 1613277 w 1861854"/>
                <a:gd name="connsiteY6" fmla="*/ 0 h 277779"/>
                <a:gd name="connsiteX7" fmla="*/ 1861854 w 1861854"/>
                <a:gd name="connsiteY7" fmla="*/ 248577 h 277779"/>
                <a:gd name="connsiteX8" fmla="*/ 1842470 w 1861854"/>
                <a:gd name="connsiteY8" fmla="*/ 268208 h 277779"/>
                <a:gd name="connsiteX9" fmla="*/ 1613277 w 1861854"/>
                <a:gd name="connsiteY9" fmla="*/ 39017 h 277779"/>
                <a:gd name="connsiteX10" fmla="*/ 1374516 w 1861854"/>
                <a:gd name="connsiteY10" fmla="*/ 277779 h 277779"/>
                <a:gd name="connsiteX11" fmla="*/ 1135754 w 1861854"/>
                <a:gd name="connsiteY11" fmla="*/ 39017 h 277779"/>
                <a:gd name="connsiteX12" fmla="*/ 896745 w 1861854"/>
                <a:gd name="connsiteY12" fmla="*/ 277779 h 277779"/>
                <a:gd name="connsiteX13" fmla="*/ 657984 w 1861854"/>
                <a:gd name="connsiteY13" fmla="*/ 39017 h 277779"/>
                <a:gd name="connsiteX14" fmla="*/ 419222 w 1861854"/>
                <a:gd name="connsiteY14" fmla="*/ 277779 h 277779"/>
                <a:gd name="connsiteX15" fmla="*/ 180458 w 1861854"/>
                <a:gd name="connsiteY15" fmla="*/ 39017 h 277779"/>
                <a:gd name="connsiteX16" fmla="*/ 0 w 1861854"/>
                <a:gd name="connsiteY16" fmla="*/ 219475 h 277779"/>
                <a:gd name="connsiteX17" fmla="*/ 0 w 1861854"/>
                <a:gd name="connsiteY17" fmla="*/ 180458 h 27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1854" h="277779">
                  <a:moveTo>
                    <a:pt x="180458" y="0"/>
                  </a:moveTo>
                  <a:lnTo>
                    <a:pt x="419222" y="238761"/>
                  </a:lnTo>
                  <a:lnTo>
                    <a:pt x="657984" y="0"/>
                  </a:lnTo>
                  <a:lnTo>
                    <a:pt x="896745" y="238761"/>
                  </a:lnTo>
                  <a:lnTo>
                    <a:pt x="1135754" y="0"/>
                  </a:lnTo>
                  <a:lnTo>
                    <a:pt x="1374516" y="238761"/>
                  </a:lnTo>
                  <a:lnTo>
                    <a:pt x="1613277" y="0"/>
                  </a:lnTo>
                  <a:lnTo>
                    <a:pt x="1861854" y="248577"/>
                  </a:lnTo>
                  <a:lnTo>
                    <a:pt x="1842470" y="268208"/>
                  </a:lnTo>
                  <a:lnTo>
                    <a:pt x="1613277" y="39017"/>
                  </a:lnTo>
                  <a:lnTo>
                    <a:pt x="1374516" y="277779"/>
                  </a:lnTo>
                  <a:lnTo>
                    <a:pt x="1135754" y="39017"/>
                  </a:lnTo>
                  <a:lnTo>
                    <a:pt x="896745" y="277779"/>
                  </a:lnTo>
                  <a:lnTo>
                    <a:pt x="657984" y="39017"/>
                  </a:lnTo>
                  <a:lnTo>
                    <a:pt x="419222" y="277779"/>
                  </a:lnTo>
                  <a:lnTo>
                    <a:pt x="180458" y="39017"/>
                  </a:lnTo>
                  <a:lnTo>
                    <a:pt x="0" y="219475"/>
                  </a:lnTo>
                  <a:lnTo>
                    <a:pt x="0" y="180458"/>
                  </a:lnTo>
                  <a:close/>
                </a:path>
              </a:pathLst>
            </a:custGeom>
            <a:grp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grpSp>
      <p:sp>
        <p:nvSpPr>
          <p:cNvPr id="41" name="Freeform: Shape 40">
            <a:extLst>
              <a:ext uri="{FF2B5EF4-FFF2-40B4-BE49-F238E27FC236}">
                <a16:creationId xmlns:a16="http://schemas.microsoft.com/office/drawing/2014/main" id="{1E3F66BB-BDA3-4747-BDE0-3D814CBE5AF5}"/>
              </a:ext>
              <a:ext uri="{C183D7F6-B498-43B3-948B-1728B52AA6E4}">
                <adec:decorative xmlns:adec="http://schemas.microsoft.com/office/drawing/2017/decorative" val="1"/>
              </a:ext>
            </a:extLst>
          </p:cNvPr>
          <p:cNvSpPr/>
          <p:nvPr userDrawn="1"/>
        </p:nvSpPr>
        <p:spPr>
          <a:xfrm>
            <a:off x="1417246" y="-12193"/>
            <a:ext cx="4902679" cy="4616801"/>
          </a:xfrm>
          <a:custGeom>
            <a:avLst/>
            <a:gdLst>
              <a:gd name="connsiteX0" fmla="*/ 1825048 w 6355652"/>
              <a:gd name="connsiteY0" fmla="*/ 0 h 6050127"/>
              <a:gd name="connsiteX1" fmla="*/ 4530604 w 6355652"/>
              <a:gd name="connsiteY1" fmla="*/ 0 h 6050127"/>
              <a:gd name="connsiteX2" fmla="*/ 4692567 w 6355652"/>
              <a:gd name="connsiteY2" fmla="*/ 78022 h 6050127"/>
              <a:gd name="connsiteX3" fmla="*/ 6355652 w 6355652"/>
              <a:gd name="connsiteY3" fmla="*/ 2872301 h 6050127"/>
              <a:gd name="connsiteX4" fmla="*/ 3177826 w 6355652"/>
              <a:gd name="connsiteY4" fmla="*/ 6050127 h 6050127"/>
              <a:gd name="connsiteX5" fmla="*/ 0 w 6355652"/>
              <a:gd name="connsiteY5" fmla="*/ 2872301 h 6050127"/>
              <a:gd name="connsiteX6" fmla="*/ 1663086 w 6355652"/>
              <a:gd name="connsiteY6" fmla="*/ 78022 h 6050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5652" h="6050127">
                <a:moveTo>
                  <a:pt x="1825048" y="0"/>
                </a:moveTo>
                <a:lnTo>
                  <a:pt x="4530604" y="0"/>
                </a:lnTo>
                <a:lnTo>
                  <a:pt x="4692567" y="78022"/>
                </a:lnTo>
                <a:cubicBezTo>
                  <a:pt x="5683175" y="616152"/>
                  <a:pt x="6355652" y="1665694"/>
                  <a:pt x="6355652" y="2872301"/>
                </a:cubicBezTo>
                <a:cubicBezTo>
                  <a:pt x="6355652" y="4627366"/>
                  <a:pt x="4932891" y="6050127"/>
                  <a:pt x="3177826" y="6050127"/>
                </a:cubicBezTo>
                <a:cubicBezTo>
                  <a:pt x="1422761" y="6050127"/>
                  <a:pt x="0" y="4627366"/>
                  <a:pt x="0" y="2872301"/>
                </a:cubicBezTo>
                <a:cubicBezTo>
                  <a:pt x="0" y="1665694"/>
                  <a:pt x="672477" y="616152"/>
                  <a:pt x="1663086" y="78022"/>
                </a:cubicBezTo>
                <a:close/>
              </a:path>
            </a:pathLst>
          </a:custGeom>
          <a:solidFill>
            <a:schemeClr val="accent1">
              <a:alpha val="2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useBgFill="1">
        <p:nvSpPr>
          <p:cNvPr id="42" name="Freeform: Shape 41">
            <a:extLst>
              <a:ext uri="{FF2B5EF4-FFF2-40B4-BE49-F238E27FC236}">
                <a16:creationId xmlns:a16="http://schemas.microsoft.com/office/drawing/2014/main" id="{FA21FCC9-56C2-419C-BADF-9C928DDAD289}"/>
              </a:ext>
              <a:ext uri="{C183D7F6-B498-43B3-948B-1728B52AA6E4}">
                <adec:decorative xmlns:adec="http://schemas.microsoft.com/office/drawing/2017/decorative" val="1"/>
              </a:ext>
            </a:extLst>
          </p:cNvPr>
          <p:cNvSpPr/>
          <p:nvPr userDrawn="1"/>
        </p:nvSpPr>
        <p:spPr>
          <a:xfrm>
            <a:off x="1305243" y="-12192"/>
            <a:ext cx="4902678" cy="4544235"/>
          </a:xfrm>
          <a:custGeom>
            <a:avLst/>
            <a:gdLst>
              <a:gd name="connsiteX0" fmla="*/ 1529549 w 6355652"/>
              <a:gd name="connsiteY0" fmla="*/ 0 h 5890980"/>
              <a:gd name="connsiteX1" fmla="*/ 4826104 w 6355652"/>
              <a:gd name="connsiteY1" fmla="*/ 0 h 5890980"/>
              <a:gd name="connsiteX2" fmla="*/ 4954579 w 6355652"/>
              <a:gd name="connsiteY2" fmla="*/ 78051 h 5890980"/>
              <a:gd name="connsiteX3" fmla="*/ 6355652 w 6355652"/>
              <a:gd name="connsiteY3" fmla="*/ 2713154 h 5890980"/>
              <a:gd name="connsiteX4" fmla="*/ 3177826 w 6355652"/>
              <a:gd name="connsiteY4" fmla="*/ 5890980 h 5890980"/>
              <a:gd name="connsiteX5" fmla="*/ 0 w 6355652"/>
              <a:gd name="connsiteY5" fmla="*/ 2713154 h 5890980"/>
              <a:gd name="connsiteX6" fmla="*/ 1401073 w 6355652"/>
              <a:gd name="connsiteY6" fmla="*/ 78051 h 589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5652" h="5890980">
                <a:moveTo>
                  <a:pt x="1529549" y="0"/>
                </a:moveTo>
                <a:lnTo>
                  <a:pt x="4826104" y="0"/>
                </a:lnTo>
                <a:lnTo>
                  <a:pt x="4954579" y="78051"/>
                </a:lnTo>
                <a:cubicBezTo>
                  <a:pt x="5799886" y="649129"/>
                  <a:pt x="6355652" y="1616239"/>
                  <a:pt x="6355652" y="2713154"/>
                </a:cubicBezTo>
                <a:cubicBezTo>
                  <a:pt x="6355652" y="4468219"/>
                  <a:pt x="4932891" y="5890980"/>
                  <a:pt x="3177826" y="5890980"/>
                </a:cubicBezTo>
                <a:cubicBezTo>
                  <a:pt x="1422761" y="5890980"/>
                  <a:pt x="0" y="4468219"/>
                  <a:pt x="0" y="2713154"/>
                </a:cubicBezTo>
                <a:cubicBezTo>
                  <a:pt x="0" y="1616239"/>
                  <a:pt x="555766" y="649129"/>
                  <a:pt x="1401073" y="78051"/>
                </a:cubicBezTo>
                <a:close/>
              </a:path>
            </a:pathLst>
          </a:custGeom>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43" name="Title 1">
            <a:extLst>
              <a:ext uri="{FF2B5EF4-FFF2-40B4-BE49-F238E27FC236}">
                <a16:creationId xmlns:a16="http://schemas.microsoft.com/office/drawing/2014/main" id="{464FCAEB-7D76-4806-B8EA-F97A887CED73}"/>
              </a:ext>
            </a:extLst>
          </p:cNvPr>
          <p:cNvSpPr>
            <a:spLocks noGrp="1"/>
          </p:cNvSpPr>
          <p:nvPr>
            <p:ph type="ctrTitle" hasCustomPrompt="1"/>
          </p:nvPr>
        </p:nvSpPr>
        <p:spPr>
          <a:xfrm>
            <a:off x="1760765" y="324937"/>
            <a:ext cx="4024032" cy="2885715"/>
          </a:xfrm>
        </p:spPr>
        <p:txBody>
          <a:bodyPr/>
          <a:lstStyle>
            <a:lvl1pPr algn="ctr">
              <a:defRPr sz="6000" b="1" spc="1500" baseline="0"/>
            </a:lvl1pPr>
          </a:lstStyle>
          <a:p>
            <a:r>
              <a:rPr lang="en-US" dirty="0"/>
              <a:t>CLICK</a:t>
            </a:r>
            <a:br>
              <a:rPr lang="en-US" dirty="0"/>
            </a:br>
            <a:r>
              <a:rPr lang="en-US" dirty="0"/>
              <a:t>TO ADD TITLE</a:t>
            </a:r>
          </a:p>
        </p:txBody>
      </p:sp>
      <p:sp>
        <p:nvSpPr>
          <p:cNvPr id="44" name="Subtitle 2">
            <a:extLst>
              <a:ext uri="{FF2B5EF4-FFF2-40B4-BE49-F238E27FC236}">
                <a16:creationId xmlns:a16="http://schemas.microsoft.com/office/drawing/2014/main" id="{192D33E3-D5C6-4492-9AB0-13294FD469B1}"/>
              </a:ext>
            </a:extLst>
          </p:cNvPr>
          <p:cNvSpPr>
            <a:spLocks noGrp="1"/>
          </p:cNvSpPr>
          <p:nvPr>
            <p:ph type="subTitle" idx="1" hasCustomPrompt="1"/>
          </p:nvPr>
        </p:nvSpPr>
        <p:spPr>
          <a:xfrm>
            <a:off x="1760765" y="3166312"/>
            <a:ext cx="4024032" cy="771802"/>
          </a:xfrm>
        </p:spPr>
        <p:txBody>
          <a:bodyPr/>
          <a:lstStyle>
            <a:lvl1pPr algn="ctr">
              <a:buFontTx/>
              <a:buNone/>
              <a:defRPr sz="2400" spc="400" baseline="0"/>
            </a:lvl1pPr>
          </a:lstStyle>
          <a:p>
            <a:r>
              <a:rPr lang="en-US" dirty="0"/>
              <a:t>CLICK TO ADD SUBTITLE</a:t>
            </a:r>
          </a:p>
        </p:txBody>
      </p:sp>
      <p:sp>
        <p:nvSpPr>
          <p:cNvPr id="45" name="Graphic 212">
            <a:extLst>
              <a:ext uri="{FF2B5EF4-FFF2-40B4-BE49-F238E27FC236}">
                <a16:creationId xmlns:a16="http://schemas.microsoft.com/office/drawing/2014/main" id="{55253C8E-0DF4-4187-8CFA-8E892B59BEC2}"/>
              </a:ext>
              <a:ext uri="{C183D7F6-B498-43B3-948B-1728B52AA6E4}">
                <adec:decorative xmlns:adec="http://schemas.microsoft.com/office/drawing/2017/decorative" val="1"/>
              </a:ext>
            </a:extLst>
          </p:cNvPr>
          <p:cNvSpPr/>
          <p:nvPr userDrawn="1"/>
        </p:nvSpPr>
        <p:spPr>
          <a:xfrm>
            <a:off x="7649933" y="1550555"/>
            <a:ext cx="413564" cy="413564"/>
          </a:xfrm>
          <a:custGeom>
            <a:avLst/>
            <a:gdLst>
              <a:gd name="connsiteX0" fmla="*/ 403574 w 807148"/>
              <a:gd name="connsiteY0" fmla="*/ 0 h 807148"/>
              <a:gd name="connsiteX1" fmla="*/ 0 w 807148"/>
              <a:gd name="connsiteY1" fmla="*/ 403574 h 807148"/>
              <a:gd name="connsiteX2" fmla="*/ 403574 w 807148"/>
              <a:gd name="connsiteY2" fmla="*/ 807149 h 807148"/>
              <a:gd name="connsiteX3" fmla="*/ 807149 w 807148"/>
              <a:gd name="connsiteY3" fmla="*/ 403574 h 807148"/>
              <a:gd name="connsiteX4" fmla="*/ 403574 w 807148"/>
              <a:gd name="connsiteY4" fmla="*/ 0 h 807148"/>
              <a:gd name="connsiteX5" fmla="*/ 403574 w 807148"/>
              <a:gd name="connsiteY5" fmla="*/ 667988 h 807148"/>
              <a:gd name="connsiteX6" fmla="*/ 139160 w 807148"/>
              <a:gd name="connsiteY6" fmla="*/ 403574 h 807148"/>
              <a:gd name="connsiteX7" fmla="*/ 403574 w 807148"/>
              <a:gd name="connsiteY7" fmla="*/ 139160 h 807148"/>
              <a:gd name="connsiteX8" fmla="*/ 667988 w 807148"/>
              <a:gd name="connsiteY8" fmla="*/ 403574 h 807148"/>
              <a:gd name="connsiteX9" fmla="*/ 403574 w 807148"/>
              <a:gd name="connsiteY9" fmla="*/ 667988 h 80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148" h="807148">
                <a:moveTo>
                  <a:pt x="403574" y="0"/>
                </a:moveTo>
                <a:cubicBezTo>
                  <a:pt x="180689" y="0"/>
                  <a:pt x="0" y="180689"/>
                  <a:pt x="0" y="403574"/>
                </a:cubicBezTo>
                <a:cubicBezTo>
                  <a:pt x="0" y="626459"/>
                  <a:pt x="180689" y="807149"/>
                  <a:pt x="403574" y="807149"/>
                </a:cubicBezTo>
                <a:cubicBezTo>
                  <a:pt x="626459" y="807149"/>
                  <a:pt x="807149" y="626459"/>
                  <a:pt x="807149" y="403574"/>
                </a:cubicBezTo>
                <a:cubicBezTo>
                  <a:pt x="807149" y="180689"/>
                  <a:pt x="626459" y="0"/>
                  <a:pt x="403574" y="0"/>
                </a:cubicBezTo>
                <a:close/>
                <a:moveTo>
                  <a:pt x="403574" y="667988"/>
                </a:moveTo>
                <a:cubicBezTo>
                  <a:pt x="257556" y="667988"/>
                  <a:pt x="139160" y="549593"/>
                  <a:pt x="139160" y="403574"/>
                </a:cubicBezTo>
                <a:cubicBezTo>
                  <a:pt x="139160" y="257556"/>
                  <a:pt x="257556" y="139160"/>
                  <a:pt x="403574" y="139160"/>
                </a:cubicBezTo>
                <a:cubicBezTo>
                  <a:pt x="549593" y="139160"/>
                  <a:pt x="667988" y="257556"/>
                  <a:pt x="667988" y="403574"/>
                </a:cubicBezTo>
                <a:cubicBezTo>
                  <a:pt x="667988" y="549593"/>
                  <a:pt x="549593" y="667988"/>
                  <a:pt x="403574" y="667988"/>
                </a:cubicBezTo>
                <a:close/>
              </a:path>
            </a:pathLst>
          </a:custGeom>
          <a:solidFill>
            <a:srgbClr val="FFFFFF"/>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46" name="Graphic 212">
            <a:extLst>
              <a:ext uri="{FF2B5EF4-FFF2-40B4-BE49-F238E27FC236}">
                <a16:creationId xmlns:a16="http://schemas.microsoft.com/office/drawing/2014/main" id="{3E81479D-EC31-42B5-A3A1-02155919F878}"/>
              </a:ext>
              <a:ext uri="{C183D7F6-B498-43B3-948B-1728B52AA6E4}">
                <adec:decorative xmlns:adec="http://schemas.microsoft.com/office/drawing/2017/decorative" val="1"/>
              </a:ext>
            </a:extLst>
          </p:cNvPr>
          <p:cNvSpPr/>
          <p:nvPr userDrawn="1"/>
        </p:nvSpPr>
        <p:spPr>
          <a:xfrm>
            <a:off x="7649933" y="1550555"/>
            <a:ext cx="413564" cy="413564"/>
          </a:xfrm>
          <a:custGeom>
            <a:avLst/>
            <a:gdLst>
              <a:gd name="connsiteX0" fmla="*/ 403574 w 807148"/>
              <a:gd name="connsiteY0" fmla="*/ 0 h 807148"/>
              <a:gd name="connsiteX1" fmla="*/ 0 w 807148"/>
              <a:gd name="connsiteY1" fmla="*/ 403574 h 807148"/>
              <a:gd name="connsiteX2" fmla="*/ 403574 w 807148"/>
              <a:gd name="connsiteY2" fmla="*/ 807149 h 807148"/>
              <a:gd name="connsiteX3" fmla="*/ 807149 w 807148"/>
              <a:gd name="connsiteY3" fmla="*/ 403574 h 807148"/>
              <a:gd name="connsiteX4" fmla="*/ 403574 w 807148"/>
              <a:gd name="connsiteY4" fmla="*/ 0 h 807148"/>
              <a:gd name="connsiteX5" fmla="*/ 403574 w 807148"/>
              <a:gd name="connsiteY5" fmla="*/ 667988 h 807148"/>
              <a:gd name="connsiteX6" fmla="*/ 139160 w 807148"/>
              <a:gd name="connsiteY6" fmla="*/ 403574 h 807148"/>
              <a:gd name="connsiteX7" fmla="*/ 403574 w 807148"/>
              <a:gd name="connsiteY7" fmla="*/ 139160 h 807148"/>
              <a:gd name="connsiteX8" fmla="*/ 667988 w 807148"/>
              <a:gd name="connsiteY8" fmla="*/ 403574 h 807148"/>
              <a:gd name="connsiteX9" fmla="*/ 403574 w 807148"/>
              <a:gd name="connsiteY9" fmla="*/ 667988 h 80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148" h="807148">
                <a:moveTo>
                  <a:pt x="403574" y="0"/>
                </a:moveTo>
                <a:cubicBezTo>
                  <a:pt x="180689" y="0"/>
                  <a:pt x="0" y="180689"/>
                  <a:pt x="0" y="403574"/>
                </a:cubicBezTo>
                <a:cubicBezTo>
                  <a:pt x="0" y="626459"/>
                  <a:pt x="180689" y="807149"/>
                  <a:pt x="403574" y="807149"/>
                </a:cubicBezTo>
                <a:cubicBezTo>
                  <a:pt x="626459" y="807149"/>
                  <a:pt x="807149" y="626459"/>
                  <a:pt x="807149" y="403574"/>
                </a:cubicBezTo>
                <a:cubicBezTo>
                  <a:pt x="807149" y="180689"/>
                  <a:pt x="626459" y="0"/>
                  <a:pt x="403574" y="0"/>
                </a:cubicBezTo>
                <a:close/>
                <a:moveTo>
                  <a:pt x="403574" y="667988"/>
                </a:moveTo>
                <a:cubicBezTo>
                  <a:pt x="257556" y="667988"/>
                  <a:pt x="139160" y="549593"/>
                  <a:pt x="139160" y="403574"/>
                </a:cubicBezTo>
                <a:cubicBezTo>
                  <a:pt x="139160" y="257556"/>
                  <a:pt x="257556" y="139160"/>
                  <a:pt x="403574" y="139160"/>
                </a:cubicBezTo>
                <a:cubicBezTo>
                  <a:pt x="549593" y="139160"/>
                  <a:pt x="667988" y="257556"/>
                  <a:pt x="667988" y="403574"/>
                </a:cubicBezTo>
                <a:cubicBezTo>
                  <a:pt x="667988" y="549593"/>
                  <a:pt x="549593" y="667988"/>
                  <a:pt x="403574" y="667988"/>
                </a:cubicBezTo>
                <a:close/>
              </a:path>
            </a:pathLst>
          </a:custGeom>
          <a:solidFill>
            <a:schemeClr val="accent3">
              <a:alpha val="2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54" name="Oval 53">
            <a:extLst>
              <a:ext uri="{FF2B5EF4-FFF2-40B4-BE49-F238E27FC236}">
                <a16:creationId xmlns:a16="http://schemas.microsoft.com/office/drawing/2014/main" id="{95B72045-B7EA-46A3-BFC1-BED5E2661ABF}"/>
              </a:ext>
              <a:ext uri="{C183D7F6-B498-43B3-948B-1728B52AA6E4}">
                <adec:decorative xmlns:adec="http://schemas.microsoft.com/office/drawing/2017/decorative" val="1"/>
              </a:ext>
            </a:extLst>
          </p:cNvPr>
          <p:cNvSpPr/>
          <p:nvPr userDrawn="1"/>
        </p:nvSpPr>
        <p:spPr>
          <a:xfrm>
            <a:off x="4369124" y="5424608"/>
            <a:ext cx="319941" cy="319941"/>
          </a:xfrm>
          <a:prstGeom prst="ellipse">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55" name="Oval 54">
            <a:extLst>
              <a:ext uri="{FF2B5EF4-FFF2-40B4-BE49-F238E27FC236}">
                <a16:creationId xmlns:a16="http://schemas.microsoft.com/office/drawing/2014/main" id="{0F04D741-7B27-4605-B65D-7E8A12D22C5E}"/>
              </a:ext>
              <a:ext uri="{C183D7F6-B498-43B3-948B-1728B52AA6E4}">
                <adec:decorative xmlns:adec="http://schemas.microsoft.com/office/drawing/2017/decorative" val="1"/>
              </a:ext>
            </a:extLst>
          </p:cNvPr>
          <p:cNvSpPr/>
          <p:nvPr userDrawn="1"/>
        </p:nvSpPr>
        <p:spPr>
          <a:xfrm>
            <a:off x="4369124" y="5424608"/>
            <a:ext cx="319941" cy="319941"/>
          </a:xfrm>
          <a:prstGeom prst="ellipse">
            <a:avLst/>
          </a:prstGeom>
          <a:solidFill>
            <a:schemeClr val="accent3">
              <a:alpha val="2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61" name="Picture Placeholder 60">
            <a:extLst>
              <a:ext uri="{FF2B5EF4-FFF2-40B4-BE49-F238E27FC236}">
                <a16:creationId xmlns:a16="http://schemas.microsoft.com/office/drawing/2014/main" id="{F0483D74-29C5-49E3-B816-46CBA8A93093}"/>
              </a:ext>
            </a:extLst>
          </p:cNvPr>
          <p:cNvSpPr>
            <a:spLocks noGrp="1"/>
          </p:cNvSpPr>
          <p:nvPr>
            <p:ph type="pic" sz="quarter" idx="13"/>
          </p:nvPr>
        </p:nvSpPr>
        <p:spPr>
          <a:xfrm>
            <a:off x="6601855" y="2313765"/>
            <a:ext cx="4773089" cy="4544235"/>
          </a:xfrm>
          <a:custGeom>
            <a:avLst/>
            <a:gdLst>
              <a:gd name="connsiteX0" fmla="*/ 2386544 w 4773089"/>
              <a:gd name="connsiteY0" fmla="*/ 0 h 4544235"/>
              <a:gd name="connsiteX1" fmla="*/ 4773089 w 4773089"/>
              <a:gd name="connsiteY1" fmla="*/ 2386545 h 4544235"/>
              <a:gd name="connsiteX2" fmla="*/ 3524113 w 4773089"/>
              <a:gd name="connsiteY2" fmla="*/ 4485046 h 4544235"/>
              <a:gd name="connsiteX3" fmla="*/ 3401244 w 4773089"/>
              <a:gd name="connsiteY3" fmla="*/ 4544235 h 4544235"/>
              <a:gd name="connsiteX4" fmla="*/ 1371845 w 4773089"/>
              <a:gd name="connsiteY4" fmla="*/ 4544235 h 4544235"/>
              <a:gd name="connsiteX5" fmla="*/ 1248976 w 4773089"/>
              <a:gd name="connsiteY5" fmla="*/ 4485046 h 4544235"/>
              <a:gd name="connsiteX6" fmla="*/ 0 w 4773089"/>
              <a:gd name="connsiteY6" fmla="*/ 2386545 h 4544235"/>
              <a:gd name="connsiteX7" fmla="*/ 2386544 w 4773089"/>
              <a:gd name="connsiteY7" fmla="*/ 0 h 4544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73089" h="4544235">
                <a:moveTo>
                  <a:pt x="2386544" y="0"/>
                </a:moveTo>
                <a:cubicBezTo>
                  <a:pt x="3704596" y="0"/>
                  <a:pt x="4773089" y="1068494"/>
                  <a:pt x="4773089" y="2386545"/>
                </a:cubicBezTo>
                <a:cubicBezTo>
                  <a:pt x="4773089" y="3292705"/>
                  <a:pt x="4268059" y="4080910"/>
                  <a:pt x="3524113" y="4485046"/>
                </a:cubicBezTo>
                <a:lnTo>
                  <a:pt x="3401244" y="4544235"/>
                </a:lnTo>
                <a:lnTo>
                  <a:pt x="1371845" y="4544235"/>
                </a:lnTo>
                <a:lnTo>
                  <a:pt x="1248976" y="4485046"/>
                </a:lnTo>
                <a:cubicBezTo>
                  <a:pt x="505030" y="4080910"/>
                  <a:pt x="0" y="3292705"/>
                  <a:pt x="0" y="2386545"/>
                </a:cubicBezTo>
                <a:cubicBezTo>
                  <a:pt x="0" y="1068494"/>
                  <a:pt x="1068494" y="0"/>
                  <a:pt x="2386544" y="0"/>
                </a:cubicBezTo>
                <a:close/>
              </a:path>
            </a:pathLst>
          </a:custGeom>
          <a:noFill/>
        </p:spPr>
        <p:txBody>
          <a:bodyPr wrap="square">
            <a:noAutofit/>
          </a:bodyPr>
          <a:lstStyle>
            <a:lvl1pPr algn="ctr">
              <a:buFontTx/>
              <a:buNone/>
              <a:defRPr/>
            </a:lvl1pPr>
          </a:lstStyle>
          <a:p>
            <a:r>
              <a:rPr lang="en-US"/>
              <a:t>Click icon to add picture</a:t>
            </a:r>
            <a:endParaRPr lang="en-US" dirty="0"/>
          </a:p>
        </p:txBody>
      </p:sp>
      <p:grpSp>
        <p:nvGrpSpPr>
          <p:cNvPr id="15" name="Graphic 185">
            <a:extLst>
              <a:ext uri="{FF2B5EF4-FFF2-40B4-BE49-F238E27FC236}">
                <a16:creationId xmlns:a16="http://schemas.microsoft.com/office/drawing/2014/main" id="{9659A986-3E9F-4994-8D36-D1B503E2C7A1}"/>
              </a:ext>
              <a:ext uri="{C183D7F6-B498-43B3-948B-1728B52AA6E4}">
                <adec:decorative xmlns:adec="http://schemas.microsoft.com/office/drawing/2017/decorative" val="1"/>
              </a:ext>
            </a:extLst>
          </p:cNvPr>
          <p:cNvGrpSpPr/>
          <p:nvPr userDrawn="1"/>
        </p:nvGrpSpPr>
        <p:grpSpPr>
          <a:xfrm>
            <a:off x="10847710" y="6388311"/>
            <a:ext cx="1054467" cy="469689"/>
            <a:chOff x="9841624" y="4115729"/>
            <a:chExt cx="602170" cy="268223"/>
          </a:xfrm>
          <a:solidFill>
            <a:schemeClr val="tx1"/>
          </a:solidFill>
        </p:grpSpPr>
        <p:sp>
          <p:nvSpPr>
            <p:cNvPr id="16" name="Freeform: Shape 15">
              <a:extLst>
                <a:ext uri="{FF2B5EF4-FFF2-40B4-BE49-F238E27FC236}">
                  <a16:creationId xmlns:a16="http://schemas.microsoft.com/office/drawing/2014/main" id="{6F426D1A-9389-46FC-B066-C6E591C89C74}"/>
                </a:ext>
              </a:extLst>
            </p:cNvPr>
            <p:cNvSpPr/>
            <p:nvPr/>
          </p:nvSpPr>
          <p:spPr>
            <a:xfrm>
              <a:off x="9841624" y="4115729"/>
              <a:ext cx="202882" cy="268223"/>
            </a:xfrm>
            <a:custGeom>
              <a:avLst/>
              <a:gdLst>
                <a:gd name="connsiteX0" fmla="*/ 20765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765"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 name="Freeform: Shape 16">
              <a:extLst>
                <a:ext uri="{FF2B5EF4-FFF2-40B4-BE49-F238E27FC236}">
                  <a16:creationId xmlns:a16="http://schemas.microsoft.com/office/drawing/2014/main" id="{67883ED4-0FCB-4F63-84F4-0C4F06DC1C24}"/>
                </a:ext>
              </a:extLst>
            </p:cNvPr>
            <p:cNvSpPr/>
            <p:nvPr/>
          </p:nvSpPr>
          <p:spPr>
            <a:xfrm>
              <a:off x="9941445" y="4115729"/>
              <a:ext cx="202882" cy="268223"/>
            </a:xfrm>
            <a:custGeom>
              <a:avLst/>
              <a:gdLst>
                <a:gd name="connsiteX0" fmla="*/ 20765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765"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 name="Freeform: Shape 17">
              <a:extLst>
                <a:ext uri="{FF2B5EF4-FFF2-40B4-BE49-F238E27FC236}">
                  <a16:creationId xmlns:a16="http://schemas.microsoft.com/office/drawing/2014/main" id="{A9B6A69C-E38F-4A2E-8302-8744909FCD5D}"/>
                </a:ext>
              </a:extLst>
            </p:cNvPr>
            <p:cNvSpPr/>
            <p:nvPr/>
          </p:nvSpPr>
          <p:spPr>
            <a:xfrm>
              <a:off x="10041267"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 name="Freeform: Shape 18">
              <a:extLst>
                <a:ext uri="{FF2B5EF4-FFF2-40B4-BE49-F238E27FC236}">
                  <a16:creationId xmlns:a16="http://schemas.microsoft.com/office/drawing/2014/main" id="{BE1B19A3-9111-4F40-98B6-8EEE7D1CE04E}"/>
                </a:ext>
              </a:extLst>
            </p:cNvPr>
            <p:cNvSpPr/>
            <p:nvPr/>
          </p:nvSpPr>
          <p:spPr>
            <a:xfrm>
              <a:off x="10141090"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 name="Freeform: Shape 19">
              <a:extLst>
                <a:ext uri="{FF2B5EF4-FFF2-40B4-BE49-F238E27FC236}">
                  <a16:creationId xmlns:a16="http://schemas.microsoft.com/office/drawing/2014/main" id="{630653FA-2CEA-4F48-8C3D-AB750074BF33}"/>
                </a:ext>
              </a:extLst>
            </p:cNvPr>
            <p:cNvSpPr/>
            <p:nvPr/>
          </p:nvSpPr>
          <p:spPr>
            <a:xfrm>
              <a:off x="10240911"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grpSp>
    </p:spTree>
    <p:extLst>
      <p:ext uri="{BB962C8B-B14F-4D97-AF65-F5344CB8AC3E}">
        <p14:creationId xmlns:p14="http://schemas.microsoft.com/office/powerpoint/2010/main" val="31573038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grpSp>
        <p:nvGrpSpPr>
          <p:cNvPr id="175" name="Group 174">
            <a:extLst>
              <a:ext uri="{FF2B5EF4-FFF2-40B4-BE49-F238E27FC236}">
                <a16:creationId xmlns:a16="http://schemas.microsoft.com/office/drawing/2014/main" id="{FAE6CF7E-C57A-4CC1-92F5-932C54C8D405}"/>
              </a:ext>
              <a:ext uri="{C183D7F6-B498-43B3-948B-1728B52AA6E4}">
                <adec:decorative xmlns:adec="http://schemas.microsoft.com/office/drawing/2017/decorative" val="1"/>
              </a:ext>
            </a:extLst>
          </p:cNvPr>
          <p:cNvGrpSpPr/>
          <p:nvPr userDrawn="1"/>
        </p:nvGrpSpPr>
        <p:grpSpPr>
          <a:xfrm>
            <a:off x="8553423" y="5619750"/>
            <a:ext cx="1295427" cy="1238250"/>
            <a:chOff x="3121343" y="4864099"/>
            <a:chExt cx="2085971" cy="1993901"/>
          </a:xfrm>
          <a:solidFill>
            <a:schemeClr val="accent3">
              <a:alpha val="20000"/>
            </a:schemeClr>
          </a:solidFill>
        </p:grpSpPr>
        <p:sp>
          <p:nvSpPr>
            <p:cNvPr id="176" name="Freeform: Shape 175">
              <a:extLst>
                <a:ext uri="{FF2B5EF4-FFF2-40B4-BE49-F238E27FC236}">
                  <a16:creationId xmlns:a16="http://schemas.microsoft.com/office/drawing/2014/main" id="{346635BB-0BF8-4643-9F1B-010FA1A03E12}"/>
                </a:ext>
              </a:extLst>
            </p:cNvPr>
            <p:cNvSpPr/>
            <p:nvPr/>
          </p:nvSpPr>
          <p:spPr>
            <a:xfrm>
              <a:off x="3238556" y="4981312"/>
              <a:ext cx="442726" cy="442726"/>
            </a:xfrm>
            <a:custGeom>
              <a:avLst/>
              <a:gdLst>
                <a:gd name="connsiteX0" fmla="*/ 112967 w 112966"/>
                <a:gd name="connsiteY0" fmla="*/ 0 h 112966"/>
                <a:gd name="connsiteX1" fmla="*/ 0 w 112966"/>
                <a:gd name="connsiteY1" fmla="*/ 112967 h 112966"/>
                <a:gd name="connsiteX2" fmla="*/ 112967 w 112966"/>
                <a:gd name="connsiteY2" fmla="*/ 0 h 112966"/>
              </a:gdLst>
              <a:ahLst/>
              <a:cxnLst>
                <a:cxn ang="0">
                  <a:pos x="connsiteX0" y="connsiteY0"/>
                </a:cxn>
                <a:cxn ang="0">
                  <a:pos x="connsiteX1" y="connsiteY1"/>
                </a:cxn>
                <a:cxn ang="0">
                  <a:pos x="connsiteX2" y="connsiteY2"/>
                </a:cxn>
              </a:cxnLst>
              <a:rect l="l" t="t" r="r" b="b"/>
              <a:pathLst>
                <a:path w="112966" h="112966">
                  <a:moveTo>
                    <a:pt x="112967" y="0"/>
                  </a:moveTo>
                  <a:lnTo>
                    <a:pt x="0" y="112967"/>
                  </a:lnTo>
                  <a:cubicBezTo>
                    <a:pt x="25356" y="64747"/>
                    <a:pt x="64747" y="25356"/>
                    <a:pt x="112967" y="0"/>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77" name="Freeform: Shape 176">
              <a:extLst>
                <a:ext uri="{FF2B5EF4-FFF2-40B4-BE49-F238E27FC236}">
                  <a16:creationId xmlns:a16="http://schemas.microsoft.com/office/drawing/2014/main" id="{51262E8E-82E0-4624-AFB8-23B54281680A}"/>
                </a:ext>
              </a:extLst>
            </p:cNvPr>
            <p:cNvSpPr/>
            <p:nvPr/>
          </p:nvSpPr>
          <p:spPr>
            <a:xfrm>
              <a:off x="3128809" y="4871565"/>
              <a:ext cx="902626" cy="902626"/>
            </a:xfrm>
            <a:custGeom>
              <a:avLst/>
              <a:gdLst>
                <a:gd name="connsiteX0" fmla="*/ 230314 w 230314"/>
                <a:gd name="connsiteY0" fmla="*/ 0 h 230314"/>
                <a:gd name="connsiteX1" fmla="*/ 0 w 230314"/>
                <a:gd name="connsiteY1" fmla="*/ 230314 h 230314"/>
                <a:gd name="connsiteX2" fmla="*/ 3524 w 230314"/>
                <a:gd name="connsiteY2" fmla="*/ 209550 h 230314"/>
                <a:gd name="connsiteX3" fmla="*/ 209550 w 230314"/>
                <a:gd name="connsiteY3" fmla="*/ 3524 h 230314"/>
                <a:gd name="connsiteX4" fmla="*/ 230314 w 230314"/>
                <a:gd name="connsiteY4" fmla="*/ 0 h 23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14" h="230314">
                  <a:moveTo>
                    <a:pt x="230314" y="0"/>
                  </a:moveTo>
                  <a:lnTo>
                    <a:pt x="0" y="230314"/>
                  </a:lnTo>
                  <a:cubicBezTo>
                    <a:pt x="953" y="223361"/>
                    <a:pt x="2095" y="216408"/>
                    <a:pt x="3524" y="209550"/>
                  </a:cubicBezTo>
                  <a:lnTo>
                    <a:pt x="209550" y="3524"/>
                  </a:lnTo>
                  <a:cubicBezTo>
                    <a:pt x="216408" y="2095"/>
                    <a:pt x="223361" y="953"/>
                    <a:pt x="230314" y="0"/>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78" name="Freeform: Shape 177">
              <a:extLst>
                <a:ext uri="{FF2B5EF4-FFF2-40B4-BE49-F238E27FC236}">
                  <a16:creationId xmlns:a16="http://schemas.microsoft.com/office/drawing/2014/main" id="{04EB1CCB-9D2B-433C-A6A6-31EF2FD52707}"/>
                </a:ext>
              </a:extLst>
            </p:cNvPr>
            <p:cNvSpPr/>
            <p:nvPr/>
          </p:nvSpPr>
          <p:spPr>
            <a:xfrm>
              <a:off x="3121343" y="4864099"/>
              <a:ext cx="1152732" cy="1152732"/>
            </a:xfrm>
            <a:custGeom>
              <a:avLst/>
              <a:gdLst>
                <a:gd name="connsiteX0" fmla="*/ 294132 w 294131"/>
                <a:gd name="connsiteY0" fmla="*/ 1238 h 294131"/>
                <a:gd name="connsiteX1" fmla="*/ 1238 w 294131"/>
                <a:gd name="connsiteY1" fmla="*/ 294132 h 294131"/>
                <a:gd name="connsiteX2" fmla="*/ 0 w 294131"/>
                <a:gd name="connsiteY2" fmla="*/ 278225 h 294131"/>
                <a:gd name="connsiteX3" fmla="*/ 278225 w 294131"/>
                <a:gd name="connsiteY3" fmla="*/ 0 h 294131"/>
                <a:gd name="connsiteX4" fmla="*/ 294132 w 294131"/>
                <a:gd name="connsiteY4" fmla="*/ 1238 h 294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131" h="294131">
                  <a:moveTo>
                    <a:pt x="294132" y="1238"/>
                  </a:moveTo>
                  <a:lnTo>
                    <a:pt x="1238" y="294132"/>
                  </a:lnTo>
                  <a:cubicBezTo>
                    <a:pt x="667" y="288893"/>
                    <a:pt x="0" y="283559"/>
                    <a:pt x="0" y="278225"/>
                  </a:cubicBezTo>
                  <a:lnTo>
                    <a:pt x="278225" y="0"/>
                  </a:lnTo>
                  <a:cubicBezTo>
                    <a:pt x="283559" y="0"/>
                    <a:pt x="288893" y="667"/>
                    <a:pt x="294132" y="1238"/>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79" name="Freeform: Shape 178">
              <a:extLst>
                <a:ext uri="{FF2B5EF4-FFF2-40B4-BE49-F238E27FC236}">
                  <a16:creationId xmlns:a16="http://schemas.microsoft.com/office/drawing/2014/main" id="{2E32FBF0-95B3-491B-98C2-1FA51CB41D86}"/>
                </a:ext>
              </a:extLst>
            </p:cNvPr>
            <p:cNvSpPr/>
            <p:nvPr/>
          </p:nvSpPr>
          <p:spPr>
            <a:xfrm>
              <a:off x="3152324" y="4894707"/>
              <a:ext cx="1321462" cy="1321838"/>
            </a:xfrm>
            <a:custGeom>
              <a:avLst/>
              <a:gdLst>
                <a:gd name="connsiteX0" fmla="*/ 337185 w 337184"/>
                <a:gd name="connsiteY0" fmla="*/ 3905 h 337280"/>
                <a:gd name="connsiteX1" fmla="*/ 3810 w 337184"/>
                <a:gd name="connsiteY1" fmla="*/ 337280 h 337280"/>
                <a:gd name="connsiteX2" fmla="*/ 0 w 337184"/>
                <a:gd name="connsiteY2" fmla="*/ 323850 h 337280"/>
                <a:gd name="connsiteX3" fmla="*/ 323850 w 337184"/>
                <a:gd name="connsiteY3" fmla="*/ 0 h 337280"/>
                <a:gd name="connsiteX4" fmla="*/ 337185 w 337184"/>
                <a:gd name="connsiteY4" fmla="*/ 3905 h 33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184" h="337280">
                  <a:moveTo>
                    <a:pt x="337185" y="3905"/>
                  </a:moveTo>
                  <a:lnTo>
                    <a:pt x="3810" y="337280"/>
                  </a:lnTo>
                  <a:cubicBezTo>
                    <a:pt x="2381" y="332899"/>
                    <a:pt x="1143" y="328422"/>
                    <a:pt x="0" y="323850"/>
                  </a:cubicBezTo>
                  <a:lnTo>
                    <a:pt x="323850" y="0"/>
                  </a:lnTo>
                  <a:cubicBezTo>
                    <a:pt x="328327" y="1715"/>
                    <a:pt x="332804" y="2477"/>
                    <a:pt x="337185" y="3905"/>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0" name="Freeform: Shape 179">
              <a:extLst>
                <a:ext uri="{FF2B5EF4-FFF2-40B4-BE49-F238E27FC236}">
                  <a16:creationId xmlns:a16="http://schemas.microsoft.com/office/drawing/2014/main" id="{175C8DFE-88AC-4A43-8617-6981B300741C}"/>
                </a:ext>
              </a:extLst>
            </p:cNvPr>
            <p:cNvSpPr/>
            <p:nvPr/>
          </p:nvSpPr>
          <p:spPr>
            <a:xfrm>
              <a:off x="3215037" y="4957793"/>
              <a:ext cx="1428975" cy="1428975"/>
            </a:xfrm>
            <a:custGeom>
              <a:avLst/>
              <a:gdLst>
                <a:gd name="connsiteX0" fmla="*/ 364617 w 364617"/>
                <a:gd name="connsiteY0" fmla="*/ 5620 h 364617"/>
                <a:gd name="connsiteX1" fmla="*/ 5620 w 364617"/>
                <a:gd name="connsiteY1" fmla="*/ 364617 h 364617"/>
                <a:gd name="connsiteX2" fmla="*/ 0 w 364617"/>
                <a:gd name="connsiteY2" fmla="*/ 353187 h 364617"/>
                <a:gd name="connsiteX3" fmla="*/ 353187 w 364617"/>
                <a:gd name="connsiteY3" fmla="*/ 0 h 364617"/>
                <a:gd name="connsiteX4" fmla="*/ 364617 w 364617"/>
                <a:gd name="connsiteY4" fmla="*/ 5620 h 364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7" h="364617">
                  <a:moveTo>
                    <a:pt x="364617" y="5620"/>
                  </a:moveTo>
                  <a:lnTo>
                    <a:pt x="5620" y="364617"/>
                  </a:lnTo>
                  <a:cubicBezTo>
                    <a:pt x="3620" y="360902"/>
                    <a:pt x="1715" y="357092"/>
                    <a:pt x="0" y="353187"/>
                  </a:cubicBezTo>
                  <a:lnTo>
                    <a:pt x="353187" y="0"/>
                  </a:lnTo>
                  <a:cubicBezTo>
                    <a:pt x="357092" y="1715"/>
                    <a:pt x="360902" y="3715"/>
                    <a:pt x="364617" y="5620"/>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1" name="Freeform: Shape 180">
              <a:extLst>
                <a:ext uri="{FF2B5EF4-FFF2-40B4-BE49-F238E27FC236}">
                  <a16:creationId xmlns:a16="http://schemas.microsoft.com/office/drawing/2014/main" id="{5B21DC5C-19E3-4D2E-90AA-635A88E641CD}"/>
                </a:ext>
              </a:extLst>
            </p:cNvPr>
            <p:cNvSpPr/>
            <p:nvPr/>
          </p:nvSpPr>
          <p:spPr>
            <a:xfrm>
              <a:off x="3301642" y="5044398"/>
              <a:ext cx="1490195" cy="1490195"/>
            </a:xfrm>
            <a:custGeom>
              <a:avLst/>
              <a:gdLst>
                <a:gd name="connsiteX0" fmla="*/ 380238 w 380238"/>
                <a:gd name="connsiteY0" fmla="*/ 7239 h 380238"/>
                <a:gd name="connsiteX1" fmla="*/ 7239 w 380238"/>
                <a:gd name="connsiteY1" fmla="*/ 380238 h 380238"/>
                <a:gd name="connsiteX2" fmla="*/ 0 w 380238"/>
                <a:gd name="connsiteY2" fmla="*/ 370713 h 380238"/>
                <a:gd name="connsiteX3" fmla="*/ 370237 w 380238"/>
                <a:gd name="connsiteY3" fmla="*/ 0 h 380238"/>
                <a:gd name="connsiteX4" fmla="*/ 380238 w 380238"/>
                <a:gd name="connsiteY4" fmla="*/ 7239 h 38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238" h="380238">
                  <a:moveTo>
                    <a:pt x="380238" y="7239"/>
                  </a:moveTo>
                  <a:lnTo>
                    <a:pt x="7239" y="380238"/>
                  </a:lnTo>
                  <a:cubicBezTo>
                    <a:pt x="4763" y="377000"/>
                    <a:pt x="2381" y="373571"/>
                    <a:pt x="0" y="370713"/>
                  </a:cubicBezTo>
                  <a:lnTo>
                    <a:pt x="370237" y="0"/>
                  </a:lnTo>
                  <a:cubicBezTo>
                    <a:pt x="373571" y="2381"/>
                    <a:pt x="377000" y="4763"/>
                    <a:pt x="380238" y="7239"/>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2" name="Freeform: Shape 181">
              <a:extLst>
                <a:ext uri="{FF2B5EF4-FFF2-40B4-BE49-F238E27FC236}">
                  <a16:creationId xmlns:a16="http://schemas.microsoft.com/office/drawing/2014/main" id="{C26FCF53-F438-4A58-8FD2-CAE3D52D4AE0}"/>
                </a:ext>
              </a:extLst>
            </p:cNvPr>
            <p:cNvSpPr/>
            <p:nvPr/>
          </p:nvSpPr>
          <p:spPr>
            <a:xfrm>
              <a:off x="3409523" y="5152279"/>
              <a:ext cx="1509607" cy="1509607"/>
            </a:xfrm>
            <a:custGeom>
              <a:avLst/>
              <a:gdLst>
                <a:gd name="connsiteX0" fmla="*/ 380905 w 385191"/>
                <a:gd name="connsiteY0" fmla="*/ 4286 h 385191"/>
                <a:gd name="connsiteX1" fmla="*/ 385191 w 385191"/>
                <a:gd name="connsiteY1" fmla="*/ 8573 h 385191"/>
                <a:gd name="connsiteX2" fmla="*/ 8573 w 385191"/>
                <a:gd name="connsiteY2" fmla="*/ 385191 h 385191"/>
                <a:gd name="connsiteX3" fmla="*/ 4286 w 385191"/>
                <a:gd name="connsiteY3" fmla="*/ 380905 h 385191"/>
                <a:gd name="connsiteX4" fmla="*/ 0 w 385191"/>
                <a:gd name="connsiteY4" fmla="*/ 376523 h 385191"/>
                <a:gd name="connsiteX5" fmla="*/ 376523 w 385191"/>
                <a:gd name="connsiteY5" fmla="*/ 0 h 385191"/>
                <a:gd name="connsiteX6" fmla="*/ 380905 w 385191"/>
                <a:gd name="connsiteY6" fmla="*/ 4286 h 38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191" h="385191">
                  <a:moveTo>
                    <a:pt x="380905" y="4286"/>
                  </a:moveTo>
                  <a:lnTo>
                    <a:pt x="385191" y="8573"/>
                  </a:lnTo>
                  <a:lnTo>
                    <a:pt x="8573" y="385191"/>
                  </a:lnTo>
                  <a:lnTo>
                    <a:pt x="4286" y="380905"/>
                  </a:lnTo>
                  <a:cubicBezTo>
                    <a:pt x="2762" y="379476"/>
                    <a:pt x="1334" y="377952"/>
                    <a:pt x="0" y="376523"/>
                  </a:cubicBezTo>
                  <a:lnTo>
                    <a:pt x="376523" y="0"/>
                  </a:lnTo>
                  <a:cubicBezTo>
                    <a:pt x="377952" y="1334"/>
                    <a:pt x="379476" y="2667"/>
                    <a:pt x="380905" y="4286"/>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3" name="Freeform: Shape 182">
              <a:extLst>
                <a:ext uri="{FF2B5EF4-FFF2-40B4-BE49-F238E27FC236}">
                  <a16:creationId xmlns:a16="http://schemas.microsoft.com/office/drawing/2014/main" id="{C765ABAF-84C1-42E2-99D9-929B7EC508BF}"/>
                </a:ext>
              </a:extLst>
            </p:cNvPr>
            <p:cNvSpPr/>
            <p:nvPr/>
          </p:nvSpPr>
          <p:spPr>
            <a:xfrm>
              <a:off x="3538685" y="5279576"/>
              <a:ext cx="1488326" cy="1490192"/>
            </a:xfrm>
            <a:custGeom>
              <a:avLst/>
              <a:gdLst>
                <a:gd name="connsiteX0" fmla="*/ 372428 w 379761"/>
                <a:gd name="connsiteY0" fmla="*/ 0 h 380237"/>
                <a:gd name="connsiteX1" fmla="*/ 379762 w 379761"/>
                <a:gd name="connsiteY1" fmla="*/ 9525 h 380237"/>
                <a:gd name="connsiteX2" fmla="*/ 9525 w 379761"/>
                <a:gd name="connsiteY2" fmla="*/ 380238 h 380237"/>
                <a:gd name="connsiteX3" fmla="*/ 0 w 379761"/>
                <a:gd name="connsiteY3" fmla="*/ 372904 h 380237"/>
              </a:gdLst>
              <a:ahLst/>
              <a:cxnLst>
                <a:cxn ang="0">
                  <a:pos x="connsiteX0" y="connsiteY0"/>
                </a:cxn>
                <a:cxn ang="0">
                  <a:pos x="connsiteX1" y="connsiteY1"/>
                </a:cxn>
                <a:cxn ang="0">
                  <a:pos x="connsiteX2" y="connsiteY2"/>
                </a:cxn>
                <a:cxn ang="0">
                  <a:pos x="connsiteX3" y="connsiteY3"/>
                </a:cxn>
              </a:cxnLst>
              <a:rect l="l" t="t" r="r" b="b"/>
              <a:pathLst>
                <a:path w="379761" h="380237">
                  <a:moveTo>
                    <a:pt x="372428" y="0"/>
                  </a:moveTo>
                  <a:cubicBezTo>
                    <a:pt x="374999" y="3239"/>
                    <a:pt x="377381" y="6572"/>
                    <a:pt x="379762" y="9525"/>
                  </a:cubicBezTo>
                  <a:lnTo>
                    <a:pt x="9525" y="380238"/>
                  </a:lnTo>
                  <a:cubicBezTo>
                    <a:pt x="6096" y="377857"/>
                    <a:pt x="2762" y="375476"/>
                    <a:pt x="0" y="372904"/>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4" name="Freeform: Shape 183">
              <a:extLst>
                <a:ext uri="{FF2B5EF4-FFF2-40B4-BE49-F238E27FC236}">
                  <a16:creationId xmlns:a16="http://schemas.microsoft.com/office/drawing/2014/main" id="{B42C9D2F-6284-4BD9-BCFF-5C32F7FDF984}"/>
                </a:ext>
              </a:extLst>
            </p:cNvPr>
            <p:cNvSpPr/>
            <p:nvPr/>
          </p:nvSpPr>
          <p:spPr>
            <a:xfrm>
              <a:off x="3683896" y="5426652"/>
              <a:ext cx="1429720" cy="1429720"/>
            </a:xfrm>
            <a:custGeom>
              <a:avLst/>
              <a:gdLst>
                <a:gd name="connsiteX0" fmla="*/ 359188 w 364807"/>
                <a:gd name="connsiteY0" fmla="*/ 0 h 364807"/>
                <a:gd name="connsiteX1" fmla="*/ 364808 w 364807"/>
                <a:gd name="connsiteY1" fmla="*/ 11621 h 364807"/>
                <a:gd name="connsiteX2" fmla="*/ 11621 w 364807"/>
                <a:gd name="connsiteY2" fmla="*/ 364808 h 364807"/>
                <a:gd name="connsiteX3" fmla="*/ 0 w 364807"/>
                <a:gd name="connsiteY3" fmla="*/ 359188 h 364807"/>
              </a:gdLst>
              <a:ahLst/>
              <a:cxnLst>
                <a:cxn ang="0">
                  <a:pos x="connsiteX0" y="connsiteY0"/>
                </a:cxn>
                <a:cxn ang="0">
                  <a:pos x="connsiteX1" y="connsiteY1"/>
                </a:cxn>
                <a:cxn ang="0">
                  <a:pos x="connsiteX2" y="connsiteY2"/>
                </a:cxn>
                <a:cxn ang="0">
                  <a:pos x="connsiteX3" y="connsiteY3"/>
                </a:cxn>
              </a:cxnLst>
              <a:rect l="l" t="t" r="r" b="b"/>
              <a:pathLst>
                <a:path w="364807" h="364807">
                  <a:moveTo>
                    <a:pt x="359188" y="0"/>
                  </a:moveTo>
                  <a:cubicBezTo>
                    <a:pt x="361188" y="3905"/>
                    <a:pt x="362998" y="7715"/>
                    <a:pt x="364808" y="11621"/>
                  </a:cubicBezTo>
                  <a:lnTo>
                    <a:pt x="11621" y="364808"/>
                  </a:lnTo>
                  <a:cubicBezTo>
                    <a:pt x="7715" y="362998"/>
                    <a:pt x="3905" y="361188"/>
                    <a:pt x="0" y="359188"/>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5" name="Freeform: Shape 184">
              <a:extLst>
                <a:ext uri="{FF2B5EF4-FFF2-40B4-BE49-F238E27FC236}">
                  <a16:creationId xmlns:a16="http://schemas.microsoft.com/office/drawing/2014/main" id="{1C3E7263-685E-46D8-A7F6-E632D38676D9}"/>
                </a:ext>
              </a:extLst>
            </p:cNvPr>
            <p:cNvSpPr/>
            <p:nvPr/>
          </p:nvSpPr>
          <p:spPr>
            <a:xfrm>
              <a:off x="3901021" y="5597624"/>
              <a:ext cx="1275308" cy="1260376"/>
            </a:xfrm>
            <a:custGeom>
              <a:avLst/>
              <a:gdLst>
                <a:gd name="connsiteX0" fmla="*/ 1260376 w 1275308"/>
                <a:gd name="connsiteY0" fmla="*/ 0 h 1260376"/>
                <a:gd name="connsiteX1" fmla="*/ 1275308 w 1275308"/>
                <a:gd name="connsiteY1" fmla="*/ 52634 h 1260376"/>
                <a:gd name="connsiteX2" fmla="*/ 67566 w 1275308"/>
                <a:gd name="connsiteY2" fmla="*/ 1260376 h 1260376"/>
                <a:gd name="connsiteX3" fmla="*/ 0 w 1275308"/>
                <a:gd name="connsiteY3" fmla="*/ 1260376 h 1260376"/>
              </a:gdLst>
              <a:ahLst/>
              <a:cxnLst>
                <a:cxn ang="0">
                  <a:pos x="connsiteX0" y="connsiteY0"/>
                </a:cxn>
                <a:cxn ang="0">
                  <a:pos x="connsiteX1" y="connsiteY1"/>
                </a:cxn>
                <a:cxn ang="0">
                  <a:pos x="connsiteX2" y="connsiteY2"/>
                </a:cxn>
                <a:cxn ang="0">
                  <a:pos x="connsiteX3" y="connsiteY3"/>
                </a:cxn>
              </a:cxnLst>
              <a:rect l="l" t="t" r="r" b="b"/>
              <a:pathLst>
                <a:path w="1275308" h="1260376">
                  <a:moveTo>
                    <a:pt x="1260376" y="0"/>
                  </a:moveTo>
                  <a:cubicBezTo>
                    <a:pt x="1265977" y="17174"/>
                    <a:pt x="1270829" y="34716"/>
                    <a:pt x="1275308" y="52634"/>
                  </a:cubicBezTo>
                  <a:lnTo>
                    <a:pt x="67566" y="1260376"/>
                  </a:lnTo>
                  <a:lnTo>
                    <a:pt x="0" y="1260376"/>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6" name="Freeform: Shape 185">
              <a:extLst>
                <a:ext uri="{FF2B5EF4-FFF2-40B4-BE49-F238E27FC236}">
                  <a16:creationId xmlns:a16="http://schemas.microsoft.com/office/drawing/2014/main" id="{990B5B3D-13E1-4E49-8B22-2E4206621B28}"/>
                </a:ext>
              </a:extLst>
            </p:cNvPr>
            <p:cNvSpPr/>
            <p:nvPr/>
          </p:nvSpPr>
          <p:spPr>
            <a:xfrm>
              <a:off x="4141456" y="5797338"/>
              <a:ext cx="1065858" cy="1060662"/>
            </a:xfrm>
            <a:custGeom>
              <a:avLst/>
              <a:gdLst>
                <a:gd name="connsiteX0" fmla="*/ 1061006 w 1065858"/>
                <a:gd name="connsiteY0" fmla="*/ 0 h 1060662"/>
                <a:gd name="connsiteX1" fmla="*/ 1065858 w 1065858"/>
                <a:gd name="connsiteY1" fmla="*/ 62342 h 1060662"/>
                <a:gd name="connsiteX2" fmla="*/ 67196 w 1065858"/>
                <a:gd name="connsiteY2" fmla="*/ 1060662 h 1060662"/>
                <a:gd name="connsiteX3" fmla="*/ 0 w 1065858"/>
                <a:gd name="connsiteY3" fmla="*/ 1060662 h 1060662"/>
              </a:gdLst>
              <a:ahLst/>
              <a:cxnLst>
                <a:cxn ang="0">
                  <a:pos x="connsiteX0" y="connsiteY0"/>
                </a:cxn>
                <a:cxn ang="0">
                  <a:pos x="connsiteX1" y="connsiteY1"/>
                </a:cxn>
                <a:cxn ang="0">
                  <a:pos x="connsiteX2" y="connsiteY2"/>
                </a:cxn>
                <a:cxn ang="0">
                  <a:pos x="connsiteX3" y="connsiteY3"/>
                </a:cxn>
              </a:cxnLst>
              <a:rect l="l" t="t" r="r" b="b"/>
              <a:pathLst>
                <a:path w="1065858" h="1060662">
                  <a:moveTo>
                    <a:pt x="1061006" y="0"/>
                  </a:moveTo>
                  <a:cubicBezTo>
                    <a:pt x="1063248" y="20905"/>
                    <a:pt x="1064741" y="41809"/>
                    <a:pt x="1065858" y="62342"/>
                  </a:cubicBezTo>
                  <a:lnTo>
                    <a:pt x="67196" y="1060662"/>
                  </a:lnTo>
                  <a:lnTo>
                    <a:pt x="0" y="1060662"/>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7" name="Freeform: Shape 186">
              <a:extLst>
                <a:ext uri="{FF2B5EF4-FFF2-40B4-BE49-F238E27FC236}">
                  <a16:creationId xmlns:a16="http://schemas.microsoft.com/office/drawing/2014/main" id="{4670F691-09A7-4616-8803-51D0BF1D4994}"/>
                </a:ext>
              </a:extLst>
            </p:cNvPr>
            <p:cNvSpPr/>
            <p:nvPr/>
          </p:nvSpPr>
          <p:spPr>
            <a:xfrm>
              <a:off x="4381830" y="6039978"/>
              <a:ext cx="818022" cy="818022"/>
            </a:xfrm>
            <a:custGeom>
              <a:avLst/>
              <a:gdLst>
                <a:gd name="connsiteX0" fmla="*/ 818022 w 818022"/>
                <a:gd name="connsiteY0" fmla="*/ 0 h 818022"/>
                <a:gd name="connsiteX1" fmla="*/ 804584 w 818022"/>
                <a:gd name="connsiteY1" fmla="*/ 80632 h 818022"/>
                <a:gd name="connsiteX2" fmla="*/ 67190 w 818022"/>
                <a:gd name="connsiteY2" fmla="*/ 818022 h 818022"/>
                <a:gd name="connsiteX3" fmla="*/ 0 w 818022"/>
                <a:gd name="connsiteY3" fmla="*/ 818022 h 818022"/>
              </a:gdLst>
              <a:ahLst/>
              <a:cxnLst>
                <a:cxn ang="0">
                  <a:pos x="connsiteX0" y="connsiteY0"/>
                </a:cxn>
                <a:cxn ang="0">
                  <a:pos x="connsiteX1" y="connsiteY1"/>
                </a:cxn>
                <a:cxn ang="0">
                  <a:pos x="connsiteX2" y="connsiteY2"/>
                </a:cxn>
                <a:cxn ang="0">
                  <a:pos x="connsiteX3" y="connsiteY3"/>
                </a:cxn>
              </a:cxnLst>
              <a:rect l="l" t="t" r="r" b="b"/>
              <a:pathLst>
                <a:path w="818022" h="818022">
                  <a:moveTo>
                    <a:pt x="818022" y="0"/>
                  </a:moveTo>
                  <a:cubicBezTo>
                    <a:pt x="814660" y="27250"/>
                    <a:pt x="810180" y="53755"/>
                    <a:pt x="804584" y="80632"/>
                  </a:cubicBezTo>
                  <a:lnTo>
                    <a:pt x="67190" y="818022"/>
                  </a:lnTo>
                  <a:lnTo>
                    <a:pt x="0" y="818022"/>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88" name="Freeform: Shape 187">
              <a:extLst>
                <a:ext uri="{FF2B5EF4-FFF2-40B4-BE49-F238E27FC236}">
                  <a16:creationId xmlns:a16="http://schemas.microsoft.com/office/drawing/2014/main" id="{7E456B34-1D7D-46B7-9864-E6F3D5EEF702}"/>
                </a:ext>
              </a:extLst>
            </p:cNvPr>
            <p:cNvSpPr/>
            <p:nvPr/>
          </p:nvSpPr>
          <p:spPr>
            <a:xfrm>
              <a:off x="4647375" y="6390131"/>
              <a:ext cx="442354" cy="442354"/>
            </a:xfrm>
            <a:custGeom>
              <a:avLst/>
              <a:gdLst>
                <a:gd name="connsiteX0" fmla="*/ 112871 w 112871"/>
                <a:gd name="connsiteY0" fmla="*/ 0 h 112871"/>
                <a:gd name="connsiteX1" fmla="*/ 0 w 112871"/>
                <a:gd name="connsiteY1" fmla="*/ 112871 h 112871"/>
              </a:gdLst>
              <a:ahLst/>
              <a:cxnLst>
                <a:cxn ang="0">
                  <a:pos x="connsiteX0" y="connsiteY0"/>
                </a:cxn>
                <a:cxn ang="0">
                  <a:pos x="connsiteX1" y="connsiteY1"/>
                </a:cxn>
              </a:cxnLst>
              <a:rect l="l" t="t" r="r" b="b"/>
              <a:pathLst>
                <a:path w="112871" h="112871">
                  <a:moveTo>
                    <a:pt x="112871" y="0"/>
                  </a:moveTo>
                  <a:cubicBezTo>
                    <a:pt x="87618" y="48239"/>
                    <a:pt x="48239" y="87618"/>
                    <a:pt x="0" y="112871"/>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grpSp>
      <p:sp>
        <p:nvSpPr>
          <p:cNvPr id="2" name="Freeform: Shape 1">
            <a:extLst>
              <a:ext uri="{FF2B5EF4-FFF2-40B4-BE49-F238E27FC236}">
                <a16:creationId xmlns:a16="http://schemas.microsoft.com/office/drawing/2014/main" id="{88347124-F829-49F3-A411-9BDBF2A03C8A}"/>
              </a:ext>
              <a:ext uri="{C183D7F6-B498-43B3-948B-1728B52AA6E4}">
                <adec:decorative xmlns:adec="http://schemas.microsoft.com/office/drawing/2017/decorative" val="1"/>
              </a:ext>
            </a:extLst>
          </p:cNvPr>
          <p:cNvSpPr/>
          <p:nvPr userDrawn="1"/>
        </p:nvSpPr>
        <p:spPr>
          <a:xfrm rot="10800000">
            <a:off x="4221" y="-4221"/>
            <a:ext cx="1098147" cy="1053618"/>
          </a:xfrm>
          <a:custGeom>
            <a:avLst/>
            <a:gdLst>
              <a:gd name="connsiteX0" fmla="*/ 2473947 w 3432581"/>
              <a:gd name="connsiteY0" fmla="*/ 0 h 3293393"/>
              <a:gd name="connsiteX1" fmla="*/ 3209623 w 3432581"/>
              <a:gd name="connsiteY1" fmla="*/ 111224 h 3293393"/>
              <a:gd name="connsiteX2" fmla="*/ 3432581 w 3432581"/>
              <a:gd name="connsiteY2" fmla="*/ 192828 h 3293393"/>
              <a:gd name="connsiteX3" fmla="*/ 3432581 w 3432581"/>
              <a:gd name="connsiteY3" fmla="*/ 3293393 h 3293393"/>
              <a:gd name="connsiteX4" fmla="*/ 141884 w 3432581"/>
              <a:gd name="connsiteY4" fmla="*/ 3293393 h 3293393"/>
              <a:gd name="connsiteX5" fmla="*/ 111224 w 3432581"/>
              <a:gd name="connsiteY5" fmla="*/ 3209623 h 3293393"/>
              <a:gd name="connsiteX6" fmla="*/ 0 w 3432581"/>
              <a:gd name="connsiteY6" fmla="*/ 2473947 h 3293393"/>
              <a:gd name="connsiteX7" fmla="*/ 2473947 w 3432581"/>
              <a:gd name="connsiteY7" fmla="*/ 0 h 329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2581" h="3293393">
                <a:moveTo>
                  <a:pt x="2473947" y="0"/>
                </a:moveTo>
                <a:cubicBezTo>
                  <a:pt x="2730133" y="0"/>
                  <a:pt x="2977223" y="38940"/>
                  <a:pt x="3209623" y="111224"/>
                </a:cubicBezTo>
                <a:lnTo>
                  <a:pt x="3432581" y="192828"/>
                </a:lnTo>
                <a:lnTo>
                  <a:pt x="3432581" y="3293393"/>
                </a:lnTo>
                <a:lnTo>
                  <a:pt x="141884" y="3293393"/>
                </a:lnTo>
                <a:lnTo>
                  <a:pt x="111224" y="3209623"/>
                </a:lnTo>
                <a:cubicBezTo>
                  <a:pt x="38940" y="2977224"/>
                  <a:pt x="0" y="2730133"/>
                  <a:pt x="0" y="2473947"/>
                </a:cubicBezTo>
                <a:cubicBezTo>
                  <a:pt x="0" y="1107624"/>
                  <a:pt x="1107624" y="0"/>
                  <a:pt x="2473947" y="0"/>
                </a:cubicBezTo>
                <a:close/>
              </a:path>
            </a:pathLst>
          </a:custGeom>
          <a:solidFill>
            <a:schemeClr val="accent1">
              <a:alpha val="2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grpSp>
        <p:nvGrpSpPr>
          <p:cNvPr id="23" name="Graphic 38">
            <a:extLst>
              <a:ext uri="{FF2B5EF4-FFF2-40B4-BE49-F238E27FC236}">
                <a16:creationId xmlns:a16="http://schemas.microsoft.com/office/drawing/2014/main" id="{9F14A5DD-2657-4346-AC8D-77FFFA0A1DB8}"/>
              </a:ext>
              <a:ext uri="{C183D7F6-B498-43B3-948B-1728B52AA6E4}">
                <adec:decorative xmlns:adec="http://schemas.microsoft.com/office/drawing/2017/decorative" val="1"/>
              </a:ext>
            </a:extLst>
          </p:cNvPr>
          <p:cNvGrpSpPr/>
          <p:nvPr userDrawn="1"/>
        </p:nvGrpSpPr>
        <p:grpSpPr>
          <a:xfrm>
            <a:off x="5983704" y="400019"/>
            <a:ext cx="1910252" cy="709661"/>
            <a:chOff x="2267504" y="2540250"/>
            <a:chExt cx="1990951" cy="739641"/>
          </a:xfrm>
          <a:solidFill>
            <a:schemeClr val="tx2"/>
          </a:solidFill>
        </p:grpSpPr>
        <p:sp>
          <p:nvSpPr>
            <p:cNvPr id="24" name="Freeform: Shape 23">
              <a:extLst>
                <a:ext uri="{FF2B5EF4-FFF2-40B4-BE49-F238E27FC236}">
                  <a16:creationId xmlns:a16="http://schemas.microsoft.com/office/drawing/2014/main" id="{0D472844-E6F3-47F6-B54F-5B2F665A6392}"/>
                </a:ext>
              </a:extLst>
            </p:cNvPr>
            <p:cNvSpPr/>
            <p:nvPr/>
          </p:nvSpPr>
          <p:spPr>
            <a:xfrm>
              <a:off x="2267504" y="254025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5835 h 286230"/>
                <a:gd name="connsiteX8" fmla="*/ 255835 w 1990951"/>
                <a:gd name="connsiteY8" fmla="*/ 0 h 286230"/>
                <a:gd name="connsiteX9" fmla="*/ 504071 w 1990951"/>
                <a:gd name="connsiteY9" fmla="*/ 245703 h 286230"/>
                <a:gd name="connsiteX10" fmla="*/ 749773 w 1990951"/>
                <a:gd name="connsiteY10" fmla="*/ 0 h 286230"/>
                <a:gd name="connsiteX11" fmla="*/ 995476 w 1990951"/>
                <a:gd name="connsiteY11" fmla="*/ 245703 h 286230"/>
                <a:gd name="connsiteX12" fmla="*/ 1243712 w 1990951"/>
                <a:gd name="connsiteY12" fmla="*/ 0 h 286230"/>
                <a:gd name="connsiteX13" fmla="*/ 1489414 w 1990951"/>
                <a:gd name="connsiteY13" fmla="*/ 245703 h 286230"/>
                <a:gd name="connsiteX14" fmla="*/ 1735117 w 1990951"/>
                <a:gd name="connsiteY14" fmla="*/ 0 h 286230"/>
                <a:gd name="connsiteX15" fmla="*/ 1990952 w 1990951"/>
                <a:gd name="connsiteY15" fmla="*/ 255835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5835"/>
                  </a:lnTo>
                  <a:lnTo>
                    <a:pt x="255835" y="0"/>
                  </a:lnTo>
                  <a:lnTo>
                    <a:pt x="504071" y="245703"/>
                  </a:lnTo>
                  <a:lnTo>
                    <a:pt x="749773" y="0"/>
                  </a:lnTo>
                  <a:lnTo>
                    <a:pt x="995476" y="245703"/>
                  </a:lnTo>
                  <a:lnTo>
                    <a:pt x="1243712" y="0"/>
                  </a:lnTo>
                  <a:lnTo>
                    <a:pt x="1489414" y="245703"/>
                  </a:lnTo>
                  <a:lnTo>
                    <a:pt x="1735117" y="0"/>
                  </a:lnTo>
                  <a:lnTo>
                    <a:pt x="1990952" y="255835"/>
                  </a:lnTo>
                  <a:lnTo>
                    <a:pt x="1973221" y="276099"/>
                  </a:lnTo>
                  <a:lnTo>
                    <a:pt x="1735117" y="40528"/>
                  </a:lnTo>
                  <a:close/>
                </a:path>
              </a:pathLst>
            </a:custGeom>
            <a:grpFill/>
            <a:ln w="253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 name="Freeform: Shape 24">
              <a:extLst>
                <a:ext uri="{FF2B5EF4-FFF2-40B4-BE49-F238E27FC236}">
                  <a16:creationId xmlns:a16="http://schemas.microsoft.com/office/drawing/2014/main" id="{7939D725-4408-4EAA-BD85-8B6A289020D8}"/>
                </a:ext>
              </a:extLst>
            </p:cNvPr>
            <p:cNvSpPr/>
            <p:nvPr/>
          </p:nvSpPr>
          <p:spPr>
            <a:xfrm>
              <a:off x="2267504" y="299366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8368 h 286230"/>
                <a:gd name="connsiteX8" fmla="*/ 255835 w 1990951"/>
                <a:gd name="connsiteY8" fmla="*/ 0 h 286230"/>
                <a:gd name="connsiteX9" fmla="*/ 504071 w 1990951"/>
                <a:gd name="connsiteY9" fmla="*/ 248236 h 286230"/>
                <a:gd name="connsiteX10" fmla="*/ 749773 w 1990951"/>
                <a:gd name="connsiteY10" fmla="*/ 0 h 286230"/>
                <a:gd name="connsiteX11" fmla="*/ 995476 w 1990951"/>
                <a:gd name="connsiteY11" fmla="*/ 248236 h 286230"/>
                <a:gd name="connsiteX12" fmla="*/ 1243712 w 1990951"/>
                <a:gd name="connsiteY12" fmla="*/ 0 h 286230"/>
                <a:gd name="connsiteX13" fmla="*/ 1489414 w 1990951"/>
                <a:gd name="connsiteY13" fmla="*/ 248236 h 286230"/>
                <a:gd name="connsiteX14" fmla="*/ 1735117 w 1990951"/>
                <a:gd name="connsiteY14" fmla="*/ 0 h 286230"/>
                <a:gd name="connsiteX15" fmla="*/ 1990952 w 1990951"/>
                <a:gd name="connsiteY15" fmla="*/ 258368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8368"/>
                  </a:lnTo>
                  <a:lnTo>
                    <a:pt x="255835" y="0"/>
                  </a:lnTo>
                  <a:lnTo>
                    <a:pt x="504071" y="248236"/>
                  </a:lnTo>
                  <a:lnTo>
                    <a:pt x="749773" y="0"/>
                  </a:lnTo>
                  <a:lnTo>
                    <a:pt x="995476" y="248236"/>
                  </a:lnTo>
                  <a:lnTo>
                    <a:pt x="1243712" y="0"/>
                  </a:lnTo>
                  <a:lnTo>
                    <a:pt x="1489414" y="248236"/>
                  </a:lnTo>
                  <a:lnTo>
                    <a:pt x="1735117" y="0"/>
                  </a:lnTo>
                  <a:lnTo>
                    <a:pt x="1990952" y="258368"/>
                  </a:lnTo>
                  <a:lnTo>
                    <a:pt x="1973221" y="276099"/>
                  </a:lnTo>
                  <a:lnTo>
                    <a:pt x="1735117" y="40528"/>
                  </a:lnTo>
                  <a:close/>
                </a:path>
              </a:pathLst>
            </a:custGeom>
            <a:grpFill/>
            <a:ln w="253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grpSp>
      <p:sp>
        <p:nvSpPr>
          <p:cNvPr id="28" name="Title 1">
            <a:extLst>
              <a:ext uri="{FF2B5EF4-FFF2-40B4-BE49-F238E27FC236}">
                <a16:creationId xmlns:a16="http://schemas.microsoft.com/office/drawing/2014/main" id="{7792A114-7099-4B73-8CFF-1CD310B6C293}"/>
              </a:ext>
            </a:extLst>
          </p:cNvPr>
          <p:cNvSpPr>
            <a:spLocks noGrp="1"/>
          </p:cNvSpPr>
          <p:nvPr>
            <p:ph type="title" hasCustomPrompt="1"/>
          </p:nvPr>
        </p:nvSpPr>
        <p:spPr>
          <a:xfrm>
            <a:off x="1292868" y="358614"/>
            <a:ext cx="4150804" cy="1431000"/>
          </a:xfrm>
        </p:spPr>
        <p:txBody>
          <a:bodyPr anchor="t"/>
          <a:lstStyle>
            <a:lvl1pPr>
              <a:defRPr/>
            </a:lvl1pPr>
          </a:lstStyle>
          <a:p>
            <a:r>
              <a:rPr lang="en-US" dirty="0"/>
              <a:t>Click to add title</a:t>
            </a:r>
          </a:p>
        </p:txBody>
      </p:sp>
      <p:sp>
        <p:nvSpPr>
          <p:cNvPr id="190" name="Date Placeholder 178">
            <a:extLst>
              <a:ext uri="{FF2B5EF4-FFF2-40B4-BE49-F238E27FC236}">
                <a16:creationId xmlns:a16="http://schemas.microsoft.com/office/drawing/2014/main" id="{D3ABC542-2E09-4DFF-BDC3-4E62CADE0205}"/>
              </a:ext>
            </a:extLst>
          </p:cNvPr>
          <p:cNvSpPr>
            <a:spLocks noGrp="1"/>
          </p:cNvSpPr>
          <p:nvPr>
            <p:ph type="dt" sz="half" idx="10"/>
          </p:nvPr>
        </p:nvSpPr>
        <p:spPr>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a:ln>
                  <a:noFill/>
                </a:ln>
                <a:solidFill>
                  <a:prstClr val="black">
                    <a:tint val="75000"/>
                  </a:prstClr>
                </a:solidFill>
                <a:effectLst/>
                <a:uLnTx/>
                <a:uFillTx/>
                <a:latin typeface="Source Sans Pro"/>
                <a:cs typeface="+mn-cs"/>
              </a:rPr>
              <a:t>2/1/20XX</a:t>
            </a:r>
            <a:endParaRPr kumimoji="0" lang="en-US" sz="1200" b="1" i="0" u="none" strike="noStrike" kern="1200" cap="all" spc="100" normalizeH="0" baseline="0" noProof="0" dirty="0">
              <a:ln>
                <a:noFill/>
              </a:ln>
              <a:solidFill>
                <a:prstClr val="black">
                  <a:tint val="75000"/>
                </a:prstClr>
              </a:solidFill>
              <a:effectLst/>
              <a:uLnTx/>
              <a:uFillTx/>
              <a:latin typeface="Source Sans Pro"/>
              <a:cs typeface="+mn-cs"/>
            </a:endParaRPr>
          </a:p>
        </p:txBody>
      </p:sp>
      <p:sp>
        <p:nvSpPr>
          <p:cNvPr id="191" name="Footer Placeholder 179">
            <a:extLst>
              <a:ext uri="{FF2B5EF4-FFF2-40B4-BE49-F238E27FC236}">
                <a16:creationId xmlns:a16="http://schemas.microsoft.com/office/drawing/2014/main" id="{EE59BB7C-0E79-4D99-98A2-6B6BB261A89C}"/>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dirty="0">
                <a:ln>
                  <a:noFill/>
                </a:ln>
                <a:solidFill>
                  <a:prstClr val="black">
                    <a:tint val="75000"/>
                  </a:prstClr>
                </a:solidFill>
                <a:effectLst/>
                <a:uLnTx/>
                <a:uFillTx/>
                <a:latin typeface="Source Sans Pro"/>
                <a:cs typeface="+mn-cs"/>
              </a:rPr>
              <a:t>PRESENTATION TITLE</a:t>
            </a:r>
          </a:p>
        </p:txBody>
      </p:sp>
      <p:sp>
        <p:nvSpPr>
          <p:cNvPr id="192" name="Slide Number Placeholder 180">
            <a:extLst>
              <a:ext uri="{FF2B5EF4-FFF2-40B4-BE49-F238E27FC236}">
                <a16:creationId xmlns:a16="http://schemas.microsoft.com/office/drawing/2014/main" id="{28A48916-E63A-42EF-B5F2-0212F4E255B0}"/>
              </a:ext>
            </a:extLst>
          </p:cNvPr>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792F7-1D9E-4C7E-A103-E8EDFDC2691E}" type="slidenum">
              <a:rPr kumimoji="0" lang="en-US" sz="1200" b="1" i="0" u="none" strike="noStrike" kern="1200" cap="all" spc="100" normalizeH="0" baseline="0" noProof="0" smtClean="0">
                <a:ln>
                  <a:noFill/>
                </a:ln>
                <a:solidFill>
                  <a:prstClr val="black">
                    <a:tint val="75000"/>
                  </a:prstClr>
                </a:solidFill>
                <a:effectLst/>
                <a:uLnTx/>
                <a:uFillTx/>
                <a:latin typeface="Source Sans Pro"/>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all" spc="100" normalizeH="0" baseline="0" noProof="0" dirty="0">
              <a:ln>
                <a:noFill/>
              </a:ln>
              <a:solidFill>
                <a:prstClr val="black">
                  <a:tint val="75000"/>
                </a:prstClr>
              </a:solidFill>
              <a:effectLst/>
              <a:uLnTx/>
              <a:uFillTx/>
              <a:latin typeface="Source Sans Pro"/>
              <a:cs typeface="+mn-cs"/>
            </a:endParaRPr>
          </a:p>
        </p:txBody>
      </p:sp>
    </p:spTree>
    <p:extLst>
      <p:ext uri="{BB962C8B-B14F-4D97-AF65-F5344CB8AC3E}">
        <p14:creationId xmlns:p14="http://schemas.microsoft.com/office/powerpoint/2010/main" val="5477177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pSp>
        <p:nvGrpSpPr>
          <p:cNvPr id="23" name="Graphic 38">
            <a:extLst>
              <a:ext uri="{FF2B5EF4-FFF2-40B4-BE49-F238E27FC236}">
                <a16:creationId xmlns:a16="http://schemas.microsoft.com/office/drawing/2014/main" id="{3E8CD31A-1394-452A-9559-656ECA14585A}"/>
              </a:ext>
              <a:ext uri="{C183D7F6-B498-43B3-948B-1728B52AA6E4}">
                <adec:decorative xmlns:adec="http://schemas.microsoft.com/office/drawing/2017/decorative" val="1"/>
              </a:ext>
            </a:extLst>
          </p:cNvPr>
          <p:cNvGrpSpPr/>
          <p:nvPr userDrawn="1"/>
        </p:nvGrpSpPr>
        <p:grpSpPr>
          <a:xfrm>
            <a:off x="5983704" y="400019"/>
            <a:ext cx="1910252" cy="709661"/>
            <a:chOff x="2267504" y="2540250"/>
            <a:chExt cx="1990951" cy="739641"/>
          </a:xfrm>
          <a:solidFill>
            <a:schemeClr val="tx2"/>
          </a:solidFill>
        </p:grpSpPr>
        <p:sp>
          <p:nvSpPr>
            <p:cNvPr id="24" name="Freeform: Shape 23">
              <a:extLst>
                <a:ext uri="{FF2B5EF4-FFF2-40B4-BE49-F238E27FC236}">
                  <a16:creationId xmlns:a16="http://schemas.microsoft.com/office/drawing/2014/main" id="{85E4E1EC-F0F2-4B35-9091-2F6FA0A0F7A0}"/>
                </a:ext>
              </a:extLst>
            </p:cNvPr>
            <p:cNvSpPr/>
            <p:nvPr/>
          </p:nvSpPr>
          <p:spPr>
            <a:xfrm>
              <a:off x="2267504" y="254025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5835 h 286230"/>
                <a:gd name="connsiteX8" fmla="*/ 255835 w 1990951"/>
                <a:gd name="connsiteY8" fmla="*/ 0 h 286230"/>
                <a:gd name="connsiteX9" fmla="*/ 504071 w 1990951"/>
                <a:gd name="connsiteY9" fmla="*/ 245703 h 286230"/>
                <a:gd name="connsiteX10" fmla="*/ 749773 w 1990951"/>
                <a:gd name="connsiteY10" fmla="*/ 0 h 286230"/>
                <a:gd name="connsiteX11" fmla="*/ 995476 w 1990951"/>
                <a:gd name="connsiteY11" fmla="*/ 245703 h 286230"/>
                <a:gd name="connsiteX12" fmla="*/ 1243712 w 1990951"/>
                <a:gd name="connsiteY12" fmla="*/ 0 h 286230"/>
                <a:gd name="connsiteX13" fmla="*/ 1489414 w 1990951"/>
                <a:gd name="connsiteY13" fmla="*/ 245703 h 286230"/>
                <a:gd name="connsiteX14" fmla="*/ 1735117 w 1990951"/>
                <a:gd name="connsiteY14" fmla="*/ 0 h 286230"/>
                <a:gd name="connsiteX15" fmla="*/ 1990952 w 1990951"/>
                <a:gd name="connsiteY15" fmla="*/ 255835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5835"/>
                  </a:lnTo>
                  <a:lnTo>
                    <a:pt x="255835" y="0"/>
                  </a:lnTo>
                  <a:lnTo>
                    <a:pt x="504071" y="245703"/>
                  </a:lnTo>
                  <a:lnTo>
                    <a:pt x="749773" y="0"/>
                  </a:lnTo>
                  <a:lnTo>
                    <a:pt x="995476" y="245703"/>
                  </a:lnTo>
                  <a:lnTo>
                    <a:pt x="1243712" y="0"/>
                  </a:lnTo>
                  <a:lnTo>
                    <a:pt x="1489414" y="245703"/>
                  </a:lnTo>
                  <a:lnTo>
                    <a:pt x="1735117" y="0"/>
                  </a:lnTo>
                  <a:lnTo>
                    <a:pt x="1990952" y="255835"/>
                  </a:lnTo>
                  <a:lnTo>
                    <a:pt x="1973221" y="276099"/>
                  </a:lnTo>
                  <a:lnTo>
                    <a:pt x="1735117" y="40528"/>
                  </a:lnTo>
                  <a:close/>
                </a:path>
              </a:pathLst>
            </a:custGeom>
            <a:grpFill/>
            <a:ln w="253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5" name="Freeform: Shape 24">
              <a:extLst>
                <a:ext uri="{FF2B5EF4-FFF2-40B4-BE49-F238E27FC236}">
                  <a16:creationId xmlns:a16="http://schemas.microsoft.com/office/drawing/2014/main" id="{26AA8D4E-47DD-4F4A-A460-D2D3D52A6F83}"/>
                </a:ext>
              </a:extLst>
            </p:cNvPr>
            <p:cNvSpPr/>
            <p:nvPr/>
          </p:nvSpPr>
          <p:spPr>
            <a:xfrm>
              <a:off x="2267504" y="2993660"/>
              <a:ext cx="1990951" cy="286230"/>
            </a:xfrm>
            <a:custGeom>
              <a:avLst/>
              <a:gdLst>
                <a:gd name="connsiteX0" fmla="*/ 1489414 w 1990951"/>
                <a:gd name="connsiteY0" fmla="*/ 286231 h 286230"/>
                <a:gd name="connsiteX1" fmla="*/ 1243712 w 1990951"/>
                <a:gd name="connsiteY1" fmla="*/ 40528 h 286230"/>
                <a:gd name="connsiteX2" fmla="*/ 995476 w 1990951"/>
                <a:gd name="connsiteY2" fmla="*/ 286231 h 286230"/>
                <a:gd name="connsiteX3" fmla="*/ 749773 w 1990951"/>
                <a:gd name="connsiteY3" fmla="*/ 40528 h 286230"/>
                <a:gd name="connsiteX4" fmla="*/ 504071 w 1990951"/>
                <a:gd name="connsiteY4" fmla="*/ 286231 h 286230"/>
                <a:gd name="connsiteX5" fmla="*/ 255835 w 1990951"/>
                <a:gd name="connsiteY5" fmla="*/ 40528 h 286230"/>
                <a:gd name="connsiteX6" fmla="*/ 20264 w 1990951"/>
                <a:gd name="connsiteY6" fmla="*/ 276099 h 286230"/>
                <a:gd name="connsiteX7" fmla="*/ 0 w 1990951"/>
                <a:gd name="connsiteY7" fmla="*/ 258368 h 286230"/>
                <a:gd name="connsiteX8" fmla="*/ 255835 w 1990951"/>
                <a:gd name="connsiteY8" fmla="*/ 0 h 286230"/>
                <a:gd name="connsiteX9" fmla="*/ 504071 w 1990951"/>
                <a:gd name="connsiteY9" fmla="*/ 248236 h 286230"/>
                <a:gd name="connsiteX10" fmla="*/ 749773 w 1990951"/>
                <a:gd name="connsiteY10" fmla="*/ 0 h 286230"/>
                <a:gd name="connsiteX11" fmla="*/ 995476 w 1990951"/>
                <a:gd name="connsiteY11" fmla="*/ 248236 h 286230"/>
                <a:gd name="connsiteX12" fmla="*/ 1243712 w 1990951"/>
                <a:gd name="connsiteY12" fmla="*/ 0 h 286230"/>
                <a:gd name="connsiteX13" fmla="*/ 1489414 w 1990951"/>
                <a:gd name="connsiteY13" fmla="*/ 248236 h 286230"/>
                <a:gd name="connsiteX14" fmla="*/ 1735117 w 1990951"/>
                <a:gd name="connsiteY14" fmla="*/ 0 h 286230"/>
                <a:gd name="connsiteX15" fmla="*/ 1990952 w 1990951"/>
                <a:gd name="connsiteY15" fmla="*/ 258368 h 286230"/>
                <a:gd name="connsiteX16" fmla="*/ 1973221 w 1990951"/>
                <a:gd name="connsiteY16" fmla="*/ 276099 h 286230"/>
                <a:gd name="connsiteX17" fmla="*/ 1735117 w 1990951"/>
                <a:gd name="connsiteY17" fmla="*/ 40528 h 28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0951" h="286230">
                  <a:moveTo>
                    <a:pt x="1489414" y="286231"/>
                  </a:moveTo>
                  <a:lnTo>
                    <a:pt x="1243712" y="40528"/>
                  </a:lnTo>
                  <a:lnTo>
                    <a:pt x="995476" y="286231"/>
                  </a:lnTo>
                  <a:lnTo>
                    <a:pt x="749773" y="40528"/>
                  </a:lnTo>
                  <a:lnTo>
                    <a:pt x="504071" y="286231"/>
                  </a:lnTo>
                  <a:lnTo>
                    <a:pt x="255835" y="40528"/>
                  </a:lnTo>
                  <a:lnTo>
                    <a:pt x="20264" y="276099"/>
                  </a:lnTo>
                  <a:lnTo>
                    <a:pt x="0" y="258368"/>
                  </a:lnTo>
                  <a:lnTo>
                    <a:pt x="255835" y="0"/>
                  </a:lnTo>
                  <a:lnTo>
                    <a:pt x="504071" y="248236"/>
                  </a:lnTo>
                  <a:lnTo>
                    <a:pt x="749773" y="0"/>
                  </a:lnTo>
                  <a:lnTo>
                    <a:pt x="995476" y="248236"/>
                  </a:lnTo>
                  <a:lnTo>
                    <a:pt x="1243712" y="0"/>
                  </a:lnTo>
                  <a:lnTo>
                    <a:pt x="1489414" y="248236"/>
                  </a:lnTo>
                  <a:lnTo>
                    <a:pt x="1735117" y="0"/>
                  </a:lnTo>
                  <a:lnTo>
                    <a:pt x="1990952" y="258368"/>
                  </a:lnTo>
                  <a:lnTo>
                    <a:pt x="1973221" y="276099"/>
                  </a:lnTo>
                  <a:lnTo>
                    <a:pt x="1735117" y="40528"/>
                  </a:lnTo>
                  <a:close/>
                </a:path>
              </a:pathLst>
            </a:custGeom>
            <a:grpFill/>
            <a:ln w="2532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grpSp>
      <p:grpSp>
        <p:nvGrpSpPr>
          <p:cNvPr id="26" name="Group 25">
            <a:extLst>
              <a:ext uri="{FF2B5EF4-FFF2-40B4-BE49-F238E27FC236}">
                <a16:creationId xmlns:a16="http://schemas.microsoft.com/office/drawing/2014/main" id="{4CDB39CA-1C6B-4D29-8511-53EB2EE2C24C}"/>
              </a:ext>
              <a:ext uri="{C183D7F6-B498-43B3-948B-1728B52AA6E4}">
                <adec:decorative xmlns:adec="http://schemas.microsoft.com/office/drawing/2017/decorative" val="1"/>
              </a:ext>
            </a:extLst>
          </p:cNvPr>
          <p:cNvGrpSpPr/>
          <p:nvPr userDrawn="1"/>
        </p:nvGrpSpPr>
        <p:grpSpPr>
          <a:xfrm>
            <a:off x="8553423" y="5619750"/>
            <a:ext cx="1295427" cy="1238250"/>
            <a:chOff x="3121343" y="4864099"/>
            <a:chExt cx="2085971" cy="1993901"/>
          </a:xfrm>
          <a:solidFill>
            <a:schemeClr val="accent3">
              <a:alpha val="20000"/>
            </a:schemeClr>
          </a:solidFill>
        </p:grpSpPr>
        <p:sp>
          <p:nvSpPr>
            <p:cNvPr id="27" name="Freeform: Shape 26">
              <a:extLst>
                <a:ext uri="{FF2B5EF4-FFF2-40B4-BE49-F238E27FC236}">
                  <a16:creationId xmlns:a16="http://schemas.microsoft.com/office/drawing/2014/main" id="{913293D6-0ECB-489A-A405-EAE446F30E8A}"/>
                </a:ext>
              </a:extLst>
            </p:cNvPr>
            <p:cNvSpPr/>
            <p:nvPr/>
          </p:nvSpPr>
          <p:spPr>
            <a:xfrm>
              <a:off x="3238556" y="4981312"/>
              <a:ext cx="442726" cy="442726"/>
            </a:xfrm>
            <a:custGeom>
              <a:avLst/>
              <a:gdLst>
                <a:gd name="connsiteX0" fmla="*/ 112967 w 112966"/>
                <a:gd name="connsiteY0" fmla="*/ 0 h 112966"/>
                <a:gd name="connsiteX1" fmla="*/ 0 w 112966"/>
                <a:gd name="connsiteY1" fmla="*/ 112967 h 112966"/>
                <a:gd name="connsiteX2" fmla="*/ 112967 w 112966"/>
                <a:gd name="connsiteY2" fmla="*/ 0 h 112966"/>
              </a:gdLst>
              <a:ahLst/>
              <a:cxnLst>
                <a:cxn ang="0">
                  <a:pos x="connsiteX0" y="connsiteY0"/>
                </a:cxn>
                <a:cxn ang="0">
                  <a:pos x="connsiteX1" y="connsiteY1"/>
                </a:cxn>
                <a:cxn ang="0">
                  <a:pos x="connsiteX2" y="connsiteY2"/>
                </a:cxn>
              </a:cxnLst>
              <a:rect l="l" t="t" r="r" b="b"/>
              <a:pathLst>
                <a:path w="112966" h="112966">
                  <a:moveTo>
                    <a:pt x="112967" y="0"/>
                  </a:moveTo>
                  <a:lnTo>
                    <a:pt x="0" y="112967"/>
                  </a:lnTo>
                  <a:cubicBezTo>
                    <a:pt x="25356" y="64747"/>
                    <a:pt x="64747" y="25356"/>
                    <a:pt x="112967" y="0"/>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28" name="Freeform: Shape 27">
              <a:extLst>
                <a:ext uri="{FF2B5EF4-FFF2-40B4-BE49-F238E27FC236}">
                  <a16:creationId xmlns:a16="http://schemas.microsoft.com/office/drawing/2014/main" id="{84505F60-82CB-4E69-9408-A65B5BE7C98C}"/>
                </a:ext>
              </a:extLst>
            </p:cNvPr>
            <p:cNvSpPr/>
            <p:nvPr/>
          </p:nvSpPr>
          <p:spPr>
            <a:xfrm>
              <a:off x="3128809" y="4871565"/>
              <a:ext cx="902626" cy="902626"/>
            </a:xfrm>
            <a:custGeom>
              <a:avLst/>
              <a:gdLst>
                <a:gd name="connsiteX0" fmla="*/ 230314 w 230314"/>
                <a:gd name="connsiteY0" fmla="*/ 0 h 230314"/>
                <a:gd name="connsiteX1" fmla="*/ 0 w 230314"/>
                <a:gd name="connsiteY1" fmla="*/ 230314 h 230314"/>
                <a:gd name="connsiteX2" fmla="*/ 3524 w 230314"/>
                <a:gd name="connsiteY2" fmla="*/ 209550 h 230314"/>
                <a:gd name="connsiteX3" fmla="*/ 209550 w 230314"/>
                <a:gd name="connsiteY3" fmla="*/ 3524 h 230314"/>
                <a:gd name="connsiteX4" fmla="*/ 230314 w 230314"/>
                <a:gd name="connsiteY4" fmla="*/ 0 h 23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14" h="230314">
                  <a:moveTo>
                    <a:pt x="230314" y="0"/>
                  </a:moveTo>
                  <a:lnTo>
                    <a:pt x="0" y="230314"/>
                  </a:lnTo>
                  <a:cubicBezTo>
                    <a:pt x="953" y="223361"/>
                    <a:pt x="2095" y="216408"/>
                    <a:pt x="3524" y="209550"/>
                  </a:cubicBezTo>
                  <a:lnTo>
                    <a:pt x="209550" y="3524"/>
                  </a:lnTo>
                  <a:cubicBezTo>
                    <a:pt x="216408" y="2095"/>
                    <a:pt x="223361" y="953"/>
                    <a:pt x="230314" y="0"/>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29" name="Freeform: Shape 28">
              <a:extLst>
                <a:ext uri="{FF2B5EF4-FFF2-40B4-BE49-F238E27FC236}">
                  <a16:creationId xmlns:a16="http://schemas.microsoft.com/office/drawing/2014/main" id="{CE3B5578-536F-4B38-89D2-C859EFB9E536}"/>
                </a:ext>
              </a:extLst>
            </p:cNvPr>
            <p:cNvSpPr/>
            <p:nvPr/>
          </p:nvSpPr>
          <p:spPr>
            <a:xfrm>
              <a:off x="3121343" y="4864099"/>
              <a:ext cx="1152732" cy="1152732"/>
            </a:xfrm>
            <a:custGeom>
              <a:avLst/>
              <a:gdLst>
                <a:gd name="connsiteX0" fmla="*/ 294132 w 294131"/>
                <a:gd name="connsiteY0" fmla="*/ 1238 h 294131"/>
                <a:gd name="connsiteX1" fmla="*/ 1238 w 294131"/>
                <a:gd name="connsiteY1" fmla="*/ 294132 h 294131"/>
                <a:gd name="connsiteX2" fmla="*/ 0 w 294131"/>
                <a:gd name="connsiteY2" fmla="*/ 278225 h 294131"/>
                <a:gd name="connsiteX3" fmla="*/ 278225 w 294131"/>
                <a:gd name="connsiteY3" fmla="*/ 0 h 294131"/>
                <a:gd name="connsiteX4" fmla="*/ 294132 w 294131"/>
                <a:gd name="connsiteY4" fmla="*/ 1238 h 294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131" h="294131">
                  <a:moveTo>
                    <a:pt x="294132" y="1238"/>
                  </a:moveTo>
                  <a:lnTo>
                    <a:pt x="1238" y="294132"/>
                  </a:lnTo>
                  <a:cubicBezTo>
                    <a:pt x="667" y="288893"/>
                    <a:pt x="0" y="283559"/>
                    <a:pt x="0" y="278225"/>
                  </a:cubicBezTo>
                  <a:lnTo>
                    <a:pt x="278225" y="0"/>
                  </a:lnTo>
                  <a:cubicBezTo>
                    <a:pt x="283559" y="0"/>
                    <a:pt x="288893" y="667"/>
                    <a:pt x="294132" y="1238"/>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30" name="Freeform: Shape 29">
              <a:extLst>
                <a:ext uri="{FF2B5EF4-FFF2-40B4-BE49-F238E27FC236}">
                  <a16:creationId xmlns:a16="http://schemas.microsoft.com/office/drawing/2014/main" id="{321C8DF3-1F8E-4B0D-B578-67D7E3A7F797}"/>
                </a:ext>
              </a:extLst>
            </p:cNvPr>
            <p:cNvSpPr/>
            <p:nvPr/>
          </p:nvSpPr>
          <p:spPr>
            <a:xfrm>
              <a:off x="3152324" y="4894707"/>
              <a:ext cx="1321462" cy="1321838"/>
            </a:xfrm>
            <a:custGeom>
              <a:avLst/>
              <a:gdLst>
                <a:gd name="connsiteX0" fmla="*/ 337185 w 337184"/>
                <a:gd name="connsiteY0" fmla="*/ 3905 h 337280"/>
                <a:gd name="connsiteX1" fmla="*/ 3810 w 337184"/>
                <a:gd name="connsiteY1" fmla="*/ 337280 h 337280"/>
                <a:gd name="connsiteX2" fmla="*/ 0 w 337184"/>
                <a:gd name="connsiteY2" fmla="*/ 323850 h 337280"/>
                <a:gd name="connsiteX3" fmla="*/ 323850 w 337184"/>
                <a:gd name="connsiteY3" fmla="*/ 0 h 337280"/>
                <a:gd name="connsiteX4" fmla="*/ 337185 w 337184"/>
                <a:gd name="connsiteY4" fmla="*/ 3905 h 33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184" h="337280">
                  <a:moveTo>
                    <a:pt x="337185" y="3905"/>
                  </a:moveTo>
                  <a:lnTo>
                    <a:pt x="3810" y="337280"/>
                  </a:lnTo>
                  <a:cubicBezTo>
                    <a:pt x="2381" y="332899"/>
                    <a:pt x="1143" y="328422"/>
                    <a:pt x="0" y="323850"/>
                  </a:cubicBezTo>
                  <a:lnTo>
                    <a:pt x="323850" y="0"/>
                  </a:lnTo>
                  <a:cubicBezTo>
                    <a:pt x="328327" y="1715"/>
                    <a:pt x="332804" y="2477"/>
                    <a:pt x="337185" y="3905"/>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48" name="Freeform: Shape 47">
              <a:extLst>
                <a:ext uri="{FF2B5EF4-FFF2-40B4-BE49-F238E27FC236}">
                  <a16:creationId xmlns:a16="http://schemas.microsoft.com/office/drawing/2014/main" id="{3EF634BD-8B6E-4470-B471-CCD9D52208E9}"/>
                </a:ext>
              </a:extLst>
            </p:cNvPr>
            <p:cNvSpPr/>
            <p:nvPr/>
          </p:nvSpPr>
          <p:spPr>
            <a:xfrm>
              <a:off x="3215037" y="4957793"/>
              <a:ext cx="1428975" cy="1428975"/>
            </a:xfrm>
            <a:custGeom>
              <a:avLst/>
              <a:gdLst>
                <a:gd name="connsiteX0" fmla="*/ 364617 w 364617"/>
                <a:gd name="connsiteY0" fmla="*/ 5620 h 364617"/>
                <a:gd name="connsiteX1" fmla="*/ 5620 w 364617"/>
                <a:gd name="connsiteY1" fmla="*/ 364617 h 364617"/>
                <a:gd name="connsiteX2" fmla="*/ 0 w 364617"/>
                <a:gd name="connsiteY2" fmla="*/ 353187 h 364617"/>
                <a:gd name="connsiteX3" fmla="*/ 353187 w 364617"/>
                <a:gd name="connsiteY3" fmla="*/ 0 h 364617"/>
                <a:gd name="connsiteX4" fmla="*/ 364617 w 364617"/>
                <a:gd name="connsiteY4" fmla="*/ 5620 h 364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7" h="364617">
                  <a:moveTo>
                    <a:pt x="364617" y="5620"/>
                  </a:moveTo>
                  <a:lnTo>
                    <a:pt x="5620" y="364617"/>
                  </a:lnTo>
                  <a:cubicBezTo>
                    <a:pt x="3620" y="360902"/>
                    <a:pt x="1715" y="357092"/>
                    <a:pt x="0" y="353187"/>
                  </a:cubicBezTo>
                  <a:lnTo>
                    <a:pt x="353187" y="0"/>
                  </a:lnTo>
                  <a:cubicBezTo>
                    <a:pt x="357092" y="1715"/>
                    <a:pt x="360902" y="3715"/>
                    <a:pt x="364617" y="5620"/>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49" name="Freeform: Shape 48">
              <a:extLst>
                <a:ext uri="{FF2B5EF4-FFF2-40B4-BE49-F238E27FC236}">
                  <a16:creationId xmlns:a16="http://schemas.microsoft.com/office/drawing/2014/main" id="{6D4EA52A-34A3-4161-A9CE-86569A099639}"/>
                </a:ext>
              </a:extLst>
            </p:cNvPr>
            <p:cNvSpPr/>
            <p:nvPr/>
          </p:nvSpPr>
          <p:spPr>
            <a:xfrm>
              <a:off x="3301642" y="5044398"/>
              <a:ext cx="1490195" cy="1490195"/>
            </a:xfrm>
            <a:custGeom>
              <a:avLst/>
              <a:gdLst>
                <a:gd name="connsiteX0" fmla="*/ 380238 w 380238"/>
                <a:gd name="connsiteY0" fmla="*/ 7239 h 380238"/>
                <a:gd name="connsiteX1" fmla="*/ 7239 w 380238"/>
                <a:gd name="connsiteY1" fmla="*/ 380238 h 380238"/>
                <a:gd name="connsiteX2" fmla="*/ 0 w 380238"/>
                <a:gd name="connsiteY2" fmla="*/ 370713 h 380238"/>
                <a:gd name="connsiteX3" fmla="*/ 370237 w 380238"/>
                <a:gd name="connsiteY3" fmla="*/ 0 h 380238"/>
                <a:gd name="connsiteX4" fmla="*/ 380238 w 380238"/>
                <a:gd name="connsiteY4" fmla="*/ 7239 h 38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238" h="380238">
                  <a:moveTo>
                    <a:pt x="380238" y="7239"/>
                  </a:moveTo>
                  <a:lnTo>
                    <a:pt x="7239" y="380238"/>
                  </a:lnTo>
                  <a:cubicBezTo>
                    <a:pt x="4763" y="377000"/>
                    <a:pt x="2381" y="373571"/>
                    <a:pt x="0" y="370713"/>
                  </a:cubicBezTo>
                  <a:lnTo>
                    <a:pt x="370237" y="0"/>
                  </a:lnTo>
                  <a:cubicBezTo>
                    <a:pt x="373571" y="2381"/>
                    <a:pt x="377000" y="4763"/>
                    <a:pt x="380238" y="7239"/>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50" name="Freeform: Shape 49">
              <a:extLst>
                <a:ext uri="{FF2B5EF4-FFF2-40B4-BE49-F238E27FC236}">
                  <a16:creationId xmlns:a16="http://schemas.microsoft.com/office/drawing/2014/main" id="{89F976BC-5664-4D19-8DC2-C83D9F201025}"/>
                </a:ext>
              </a:extLst>
            </p:cNvPr>
            <p:cNvSpPr/>
            <p:nvPr/>
          </p:nvSpPr>
          <p:spPr>
            <a:xfrm>
              <a:off x="3409523" y="5152279"/>
              <a:ext cx="1509607" cy="1509607"/>
            </a:xfrm>
            <a:custGeom>
              <a:avLst/>
              <a:gdLst>
                <a:gd name="connsiteX0" fmla="*/ 380905 w 385191"/>
                <a:gd name="connsiteY0" fmla="*/ 4286 h 385191"/>
                <a:gd name="connsiteX1" fmla="*/ 385191 w 385191"/>
                <a:gd name="connsiteY1" fmla="*/ 8573 h 385191"/>
                <a:gd name="connsiteX2" fmla="*/ 8573 w 385191"/>
                <a:gd name="connsiteY2" fmla="*/ 385191 h 385191"/>
                <a:gd name="connsiteX3" fmla="*/ 4286 w 385191"/>
                <a:gd name="connsiteY3" fmla="*/ 380905 h 385191"/>
                <a:gd name="connsiteX4" fmla="*/ 0 w 385191"/>
                <a:gd name="connsiteY4" fmla="*/ 376523 h 385191"/>
                <a:gd name="connsiteX5" fmla="*/ 376523 w 385191"/>
                <a:gd name="connsiteY5" fmla="*/ 0 h 385191"/>
                <a:gd name="connsiteX6" fmla="*/ 380905 w 385191"/>
                <a:gd name="connsiteY6" fmla="*/ 4286 h 38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191" h="385191">
                  <a:moveTo>
                    <a:pt x="380905" y="4286"/>
                  </a:moveTo>
                  <a:lnTo>
                    <a:pt x="385191" y="8573"/>
                  </a:lnTo>
                  <a:lnTo>
                    <a:pt x="8573" y="385191"/>
                  </a:lnTo>
                  <a:lnTo>
                    <a:pt x="4286" y="380905"/>
                  </a:lnTo>
                  <a:cubicBezTo>
                    <a:pt x="2762" y="379476"/>
                    <a:pt x="1334" y="377952"/>
                    <a:pt x="0" y="376523"/>
                  </a:cubicBezTo>
                  <a:lnTo>
                    <a:pt x="376523" y="0"/>
                  </a:lnTo>
                  <a:cubicBezTo>
                    <a:pt x="377952" y="1334"/>
                    <a:pt x="379476" y="2667"/>
                    <a:pt x="380905" y="4286"/>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51" name="Freeform: Shape 50">
              <a:extLst>
                <a:ext uri="{FF2B5EF4-FFF2-40B4-BE49-F238E27FC236}">
                  <a16:creationId xmlns:a16="http://schemas.microsoft.com/office/drawing/2014/main" id="{4FE844F3-0151-483D-A445-DF19C1CA237C}"/>
                </a:ext>
              </a:extLst>
            </p:cNvPr>
            <p:cNvSpPr/>
            <p:nvPr/>
          </p:nvSpPr>
          <p:spPr>
            <a:xfrm>
              <a:off x="3538685" y="5279576"/>
              <a:ext cx="1488326" cy="1490192"/>
            </a:xfrm>
            <a:custGeom>
              <a:avLst/>
              <a:gdLst>
                <a:gd name="connsiteX0" fmla="*/ 372428 w 379761"/>
                <a:gd name="connsiteY0" fmla="*/ 0 h 380237"/>
                <a:gd name="connsiteX1" fmla="*/ 379762 w 379761"/>
                <a:gd name="connsiteY1" fmla="*/ 9525 h 380237"/>
                <a:gd name="connsiteX2" fmla="*/ 9525 w 379761"/>
                <a:gd name="connsiteY2" fmla="*/ 380238 h 380237"/>
                <a:gd name="connsiteX3" fmla="*/ 0 w 379761"/>
                <a:gd name="connsiteY3" fmla="*/ 372904 h 380237"/>
              </a:gdLst>
              <a:ahLst/>
              <a:cxnLst>
                <a:cxn ang="0">
                  <a:pos x="connsiteX0" y="connsiteY0"/>
                </a:cxn>
                <a:cxn ang="0">
                  <a:pos x="connsiteX1" y="connsiteY1"/>
                </a:cxn>
                <a:cxn ang="0">
                  <a:pos x="connsiteX2" y="connsiteY2"/>
                </a:cxn>
                <a:cxn ang="0">
                  <a:pos x="connsiteX3" y="connsiteY3"/>
                </a:cxn>
              </a:cxnLst>
              <a:rect l="l" t="t" r="r" b="b"/>
              <a:pathLst>
                <a:path w="379761" h="380237">
                  <a:moveTo>
                    <a:pt x="372428" y="0"/>
                  </a:moveTo>
                  <a:cubicBezTo>
                    <a:pt x="374999" y="3239"/>
                    <a:pt x="377381" y="6572"/>
                    <a:pt x="379762" y="9525"/>
                  </a:cubicBezTo>
                  <a:lnTo>
                    <a:pt x="9525" y="380238"/>
                  </a:lnTo>
                  <a:cubicBezTo>
                    <a:pt x="6096" y="377857"/>
                    <a:pt x="2762" y="375476"/>
                    <a:pt x="0" y="372904"/>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52" name="Freeform: Shape 51">
              <a:extLst>
                <a:ext uri="{FF2B5EF4-FFF2-40B4-BE49-F238E27FC236}">
                  <a16:creationId xmlns:a16="http://schemas.microsoft.com/office/drawing/2014/main" id="{3602D36A-92EE-4D58-8B1E-A7C32FA38A81}"/>
                </a:ext>
              </a:extLst>
            </p:cNvPr>
            <p:cNvSpPr/>
            <p:nvPr/>
          </p:nvSpPr>
          <p:spPr>
            <a:xfrm>
              <a:off x="3683896" y="5426652"/>
              <a:ext cx="1429720" cy="1429720"/>
            </a:xfrm>
            <a:custGeom>
              <a:avLst/>
              <a:gdLst>
                <a:gd name="connsiteX0" fmla="*/ 359188 w 364807"/>
                <a:gd name="connsiteY0" fmla="*/ 0 h 364807"/>
                <a:gd name="connsiteX1" fmla="*/ 364808 w 364807"/>
                <a:gd name="connsiteY1" fmla="*/ 11621 h 364807"/>
                <a:gd name="connsiteX2" fmla="*/ 11621 w 364807"/>
                <a:gd name="connsiteY2" fmla="*/ 364808 h 364807"/>
                <a:gd name="connsiteX3" fmla="*/ 0 w 364807"/>
                <a:gd name="connsiteY3" fmla="*/ 359188 h 364807"/>
              </a:gdLst>
              <a:ahLst/>
              <a:cxnLst>
                <a:cxn ang="0">
                  <a:pos x="connsiteX0" y="connsiteY0"/>
                </a:cxn>
                <a:cxn ang="0">
                  <a:pos x="connsiteX1" y="connsiteY1"/>
                </a:cxn>
                <a:cxn ang="0">
                  <a:pos x="connsiteX2" y="connsiteY2"/>
                </a:cxn>
                <a:cxn ang="0">
                  <a:pos x="connsiteX3" y="connsiteY3"/>
                </a:cxn>
              </a:cxnLst>
              <a:rect l="l" t="t" r="r" b="b"/>
              <a:pathLst>
                <a:path w="364807" h="364807">
                  <a:moveTo>
                    <a:pt x="359188" y="0"/>
                  </a:moveTo>
                  <a:cubicBezTo>
                    <a:pt x="361188" y="3905"/>
                    <a:pt x="362998" y="7715"/>
                    <a:pt x="364808" y="11621"/>
                  </a:cubicBezTo>
                  <a:lnTo>
                    <a:pt x="11621" y="364808"/>
                  </a:lnTo>
                  <a:cubicBezTo>
                    <a:pt x="7715" y="362998"/>
                    <a:pt x="3905" y="361188"/>
                    <a:pt x="0" y="359188"/>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53" name="Freeform: Shape 52">
              <a:extLst>
                <a:ext uri="{FF2B5EF4-FFF2-40B4-BE49-F238E27FC236}">
                  <a16:creationId xmlns:a16="http://schemas.microsoft.com/office/drawing/2014/main" id="{54D3E311-8682-432D-96C1-892E0A7B846F}"/>
                </a:ext>
              </a:extLst>
            </p:cNvPr>
            <p:cNvSpPr/>
            <p:nvPr/>
          </p:nvSpPr>
          <p:spPr>
            <a:xfrm>
              <a:off x="3901021" y="5597624"/>
              <a:ext cx="1275308" cy="1260376"/>
            </a:xfrm>
            <a:custGeom>
              <a:avLst/>
              <a:gdLst>
                <a:gd name="connsiteX0" fmla="*/ 1260376 w 1275308"/>
                <a:gd name="connsiteY0" fmla="*/ 0 h 1260376"/>
                <a:gd name="connsiteX1" fmla="*/ 1275308 w 1275308"/>
                <a:gd name="connsiteY1" fmla="*/ 52634 h 1260376"/>
                <a:gd name="connsiteX2" fmla="*/ 67566 w 1275308"/>
                <a:gd name="connsiteY2" fmla="*/ 1260376 h 1260376"/>
                <a:gd name="connsiteX3" fmla="*/ 0 w 1275308"/>
                <a:gd name="connsiteY3" fmla="*/ 1260376 h 1260376"/>
              </a:gdLst>
              <a:ahLst/>
              <a:cxnLst>
                <a:cxn ang="0">
                  <a:pos x="connsiteX0" y="connsiteY0"/>
                </a:cxn>
                <a:cxn ang="0">
                  <a:pos x="connsiteX1" y="connsiteY1"/>
                </a:cxn>
                <a:cxn ang="0">
                  <a:pos x="connsiteX2" y="connsiteY2"/>
                </a:cxn>
                <a:cxn ang="0">
                  <a:pos x="connsiteX3" y="connsiteY3"/>
                </a:cxn>
              </a:cxnLst>
              <a:rect l="l" t="t" r="r" b="b"/>
              <a:pathLst>
                <a:path w="1275308" h="1260376">
                  <a:moveTo>
                    <a:pt x="1260376" y="0"/>
                  </a:moveTo>
                  <a:cubicBezTo>
                    <a:pt x="1265977" y="17174"/>
                    <a:pt x="1270829" y="34716"/>
                    <a:pt x="1275308" y="52634"/>
                  </a:cubicBezTo>
                  <a:lnTo>
                    <a:pt x="67566" y="1260376"/>
                  </a:lnTo>
                  <a:lnTo>
                    <a:pt x="0" y="1260376"/>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54" name="Freeform: Shape 53">
              <a:extLst>
                <a:ext uri="{FF2B5EF4-FFF2-40B4-BE49-F238E27FC236}">
                  <a16:creationId xmlns:a16="http://schemas.microsoft.com/office/drawing/2014/main" id="{2F6A277D-D709-4AAD-A2BE-7F002BC0B1A4}"/>
                </a:ext>
              </a:extLst>
            </p:cNvPr>
            <p:cNvSpPr/>
            <p:nvPr/>
          </p:nvSpPr>
          <p:spPr>
            <a:xfrm>
              <a:off x="4141456" y="5797338"/>
              <a:ext cx="1065858" cy="1060662"/>
            </a:xfrm>
            <a:custGeom>
              <a:avLst/>
              <a:gdLst>
                <a:gd name="connsiteX0" fmla="*/ 1061006 w 1065858"/>
                <a:gd name="connsiteY0" fmla="*/ 0 h 1060662"/>
                <a:gd name="connsiteX1" fmla="*/ 1065858 w 1065858"/>
                <a:gd name="connsiteY1" fmla="*/ 62342 h 1060662"/>
                <a:gd name="connsiteX2" fmla="*/ 67196 w 1065858"/>
                <a:gd name="connsiteY2" fmla="*/ 1060662 h 1060662"/>
                <a:gd name="connsiteX3" fmla="*/ 0 w 1065858"/>
                <a:gd name="connsiteY3" fmla="*/ 1060662 h 1060662"/>
              </a:gdLst>
              <a:ahLst/>
              <a:cxnLst>
                <a:cxn ang="0">
                  <a:pos x="connsiteX0" y="connsiteY0"/>
                </a:cxn>
                <a:cxn ang="0">
                  <a:pos x="connsiteX1" y="connsiteY1"/>
                </a:cxn>
                <a:cxn ang="0">
                  <a:pos x="connsiteX2" y="connsiteY2"/>
                </a:cxn>
                <a:cxn ang="0">
                  <a:pos x="connsiteX3" y="connsiteY3"/>
                </a:cxn>
              </a:cxnLst>
              <a:rect l="l" t="t" r="r" b="b"/>
              <a:pathLst>
                <a:path w="1065858" h="1060662">
                  <a:moveTo>
                    <a:pt x="1061006" y="0"/>
                  </a:moveTo>
                  <a:cubicBezTo>
                    <a:pt x="1063248" y="20905"/>
                    <a:pt x="1064741" y="41809"/>
                    <a:pt x="1065858" y="62342"/>
                  </a:cubicBezTo>
                  <a:lnTo>
                    <a:pt x="67196" y="1060662"/>
                  </a:lnTo>
                  <a:lnTo>
                    <a:pt x="0" y="1060662"/>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55" name="Freeform: Shape 54">
              <a:extLst>
                <a:ext uri="{FF2B5EF4-FFF2-40B4-BE49-F238E27FC236}">
                  <a16:creationId xmlns:a16="http://schemas.microsoft.com/office/drawing/2014/main" id="{692A7F87-C5D7-4B71-8667-833F96C3F294}"/>
                </a:ext>
              </a:extLst>
            </p:cNvPr>
            <p:cNvSpPr/>
            <p:nvPr/>
          </p:nvSpPr>
          <p:spPr>
            <a:xfrm>
              <a:off x="4381830" y="6039978"/>
              <a:ext cx="818022" cy="818022"/>
            </a:xfrm>
            <a:custGeom>
              <a:avLst/>
              <a:gdLst>
                <a:gd name="connsiteX0" fmla="*/ 818022 w 818022"/>
                <a:gd name="connsiteY0" fmla="*/ 0 h 818022"/>
                <a:gd name="connsiteX1" fmla="*/ 804584 w 818022"/>
                <a:gd name="connsiteY1" fmla="*/ 80632 h 818022"/>
                <a:gd name="connsiteX2" fmla="*/ 67190 w 818022"/>
                <a:gd name="connsiteY2" fmla="*/ 818022 h 818022"/>
                <a:gd name="connsiteX3" fmla="*/ 0 w 818022"/>
                <a:gd name="connsiteY3" fmla="*/ 818022 h 818022"/>
              </a:gdLst>
              <a:ahLst/>
              <a:cxnLst>
                <a:cxn ang="0">
                  <a:pos x="connsiteX0" y="connsiteY0"/>
                </a:cxn>
                <a:cxn ang="0">
                  <a:pos x="connsiteX1" y="connsiteY1"/>
                </a:cxn>
                <a:cxn ang="0">
                  <a:pos x="connsiteX2" y="connsiteY2"/>
                </a:cxn>
                <a:cxn ang="0">
                  <a:pos x="connsiteX3" y="connsiteY3"/>
                </a:cxn>
              </a:cxnLst>
              <a:rect l="l" t="t" r="r" b="b"/>
              <a:pathLst>
                <a:path w="818022" h="818022">
                  <a:moveTo>
                    <a:pt x="818022" y="0"/>
                  </a:moveTo>
                  <a:cubicBezTo>
                    <a:pt x="814660" y="27250"/>
                    <a:pt x="810180" y="53755"/>
                    <a:pt x="804584" y="80632"/>
                  </a:cubicBezTo>
                  <a:lnTo>
                    <a:pt x="67190" y="818022"/>
                  </a:lnTo>
                  <a:lnTo>
                    <a:pt x="0" y="818022"/>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56" name="Freeform: Shape 55">
              <a:extLst>
                <a:ext uri="{FF2B5EF4-FFF2-40B4-BE49-F238E27FC236}">
                  <a16:creationId xmlns:a16="http://schemas.microsoft.com/office/drawing/2014/main" id="{74ABB7F8-185E-406E-84D5-2ADDC019320A}"/>
                </a:ext>
              </a:extLst>
            </p:cNvPr>
            <p:cNvSpPr/>
            <p:nvPr/>
          </p:nvSpPr>
          <p:spPr>
            <a:xfrm>
              <a:off x="4647375" y="6390131"/>
              <a:ext cx="442354" cy="442354"/>
            </a:xfrm>
            <a:custGeom>
              <a:avLst/>
              <a:gdLst>
                <a:gd name="connsiteX0" fmla="*/ 112871 w 112871"/>
                <a:gd name="connsiteY0" fmla="*/ 0 h 112871"/>
                <a:gd name="connsiteX1" fmla="*/ 0 w 112871"/>
                <a:gd name="connsiteY1" fmla="*/ 112871 h 112871"/>
              </a:gdLst>
              <a:ahLst/>
              <a:cxnLst>
                <a:cxn ang="0">
                  <a:pos x="connsiteX0" y="connsiteY0"/>
                </a:cxn>
                <a:cxn ang="0">
                  <a:pos x="connsiteX1" y="connsiteY1"/>
                </a:cxn>
              </a:cxnLst>
              <a:rect l="l" t="t" r="r" b="b"/>
              <a:pathLst>
                <a:path w="112871" h="112871">
                  <a:moveTo>
                    <a:pt x="112871" y="0"/>
                  </a:moveTo>
                  <a:cubicBezTo>
                    <a:pt x="87618" y="48239"/>
                    <a:pt x="48239" y="87618"/>
                    <a:pt x="0" y="112871"/>
                  </a:cubicBez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grpSp>
      <p:sp>
        <p:nvSpPr>
          <p:cNvPr id="2" name="Freeform: Shape 1">
            <a:extLst>
              <a:ext uri="{FF2B5EF4-FFF2-40B4-BE49-F238E27FC236}">
                <a16:creationId xmlns:a16="http://schemas.microsoft.com/office/drawing/2014/main" id="{32343BE2-F9F3-467E-BAC0-182941FCBCD2}"/>
              </a:ext>
              <a:ext uri="{C183D7F6-B498-43B3-948B-1728B52AA6E4}">
                <adec:decorative xmlns:adec="http://schemas.microsoft.com/office/drawing/2017/decorative" val="1"/>
              </a:ext>
            </a:extLst>
          </p:cNvPr>
          <p:cNvSpPr/>
          <p:nvPr userDrawn="1"/>
        </p:nvSpPr>
        <p:spPr>
          <a:xfrm rot="10800000">
            <a:off x="4221" y="-4221"/>
            <a:ext cx="1098147" cy="1053618"/>
          </a:xfrm>
          <a:custGeom>
            <a:avLst/>
            <a:gdLst>
              <a:gd name="connsiteX0" fmla="*/ 2473947 w 3432581"/>
              <a:gd name="connsiteY0" fmla="*/ 0 h 3293393"/>
              <a:gd name="connsiteX1" fmla="*/ 3209623 w 3432581"/>
              <a:gd name="connsiteY1" fmla="*/ 111224 h 3293393"/>
              <a:gd name="connsiteX2" fmla="*/ 3432581 w 3432581"/>
              <a:gd name="connsiteY2" fmla="*/ 192828 h 3293393"/>
              <a:gd name="connsiteX3" fmla="*/ 3432581 w 3432581"/>
              <a:gd name="connsiteY3" fmla="*/ 3293393 h 3293393"/>
              <a:gd name="connsiteX4" fmla="*/ 141884 w 3432581"/>
              <a:gd name="connsiteY4" fmla="*/ 3293393 h 3293393"/>
              <a:gd name="connsiteX5" fmla="*/ 111224 w 3432581"/>
              <a:gd name="connsiteY5" fmla="*/ 3209623 h 3293393"/>
              <a:gd name="connsiteX6" fmla="*/ 0 w 3432581"/>
              <a:gd name="connsiteY6" fmla="*/ 2473947 h 3293393"/>
              <a:gd name="connsiteX7" fmla="*/ 2473947 w 3432581"/>
              <a:gd name="connsiteY7" fmla="*/ 0 h 329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2581" h="3293393">
                <a:moveTo>
                  <a:pt x="2473947" y="0"/>
                </a:moveTo>
                <a:cubicBezTo>
                  <a:pt x="2730133" y="0"/>
                  <a:pt x="2977223" y="38940"/>
                  <a:pt x="3209623" y="111224"/>
                </a:cubicBezTo>
                <a:lnTo>
                  <a:pt x="3432581" y="192828"/>
                </a:lnTo>
                <a:lnTo>
                  <a:pt x="3432581" y="3293393"/>
                </a:lnTo>
                <a:lnTo>
                  <a:pt x="141884" y="3293393"/>
                </a:lnTo>
                <a:lnTo>
                  <a:pt x="111224" y="3209623"/>
                </a:lnTo>
                <a:cubicBezTo>
                  <a:pt x="38940" y="2977224"/>
                  <a:pt x="0" y="2730133"/>
                  <a:pt x="0" y="2473947"/>
                </a:cubicBezTo>
                <a:cubicBezTo>
                  <a:pt x="0" y="1107624"/>
                  <a:pt x="1107624" y="0"/>
                  <a:pt x="2473947" y="0"/>
                </a:cubicBezTo>
                <a:close/>
              </a:path>
            </a:pathLst>
          </a:custGeom>
          <a:solidFill>
            <a:schemeClr val="accent1">
              <a:alpha val="2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13" name="Title 1">
            <a:extLst>
              <a:ext uri="{FF2B5EF4-FFF2-40B4-BE49-F238E27FC236}">
                <a16:creationId xmlns:a16="http://schemas.microsoft.com/office/drawing/2014/main" id="{3193E6E4-C8EE-470B-AABB-B46374938AA4}"/>
              </a:ext>
            </a:extLst>
          </p:cNvPr>
          <p:cNvSpPr>
            <a:spLocks noGrp="1"/>
          </p:cNvSpPr>
          <p:nvPr>
            <p:ph type="title" hasCustomPrompt="1"/>
          </p:nvPr>
        </p:nvSpPr>
        <p:spPr>
          <a:xfrm>
            <a:off x="1292868" y="358614"/>
            <a:ext cx="4150804" cy="1431000"/>
          </a:xfrm>
        </p:spPr>
        <p:txBody>
          <a:bodyPr anchor="t"/>
          <a:lstStyle>
            <a:lvl1pPr>
              <a:defRPr/>
            </a:lvl1pPr>
          </a:lstStyle>
          <a:p>
            <a:r>
              <a:rPr lang="en-US" dirty="0"/>
              <a:t>Click to add title</a:t>
            </a:r>
          </a:p>
        </p:txBody>
      </p:sp>
      <p:sp>
        <p:nvSpPr>
          <p:cNvPr id="31" name="Date Placeholder 178">
            <a:extLst>
              <a:ext uri="{FF2B5EF4-FFF2-40B4-BE49-F238E27FC236}">
                <a16:creationId xmlns:a16="http://schemas.microsoft.com/office/drawing/2014/main" id="{9BFD1C1A-363C-4909-95D6-9AF44B452A54}"/>
              </a:ext>
            </a:extLst>
          </p:cNvPr>
          <p:cNvSpPr>
            <a:spLocks noGrp="1"/>
          </p:cNvSpPr>
          <p:nvPr>
            <p:ph type="dt" sz="half" idx="10"/>
          </p:nvPr>
        </p:nvSpPr>
        <p:spPr>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a:ln>
                  <a:noFill/>
                </a:ln>
                <a:solidFill>
                  <a:prstClr val="black">
                    <a:tint val="75000"/>
                  </a:prstClr>
                </a:solidFill>
                <a:effectLst/>
                <a:uLnTx/>
                <a:uFillTx/>
                <a:latin typeface="Source Sans Pro"/>
                <a:cs typeface="+mn-cs"/>
              </a:rPr>
              <a:t>2/1/20XX</a:t>
            </a:r>
            <a:endParaRPr kumimoji="0" lang="en-US" sz="1200" b="1" i="0" u="none" strike="noStrike" kern="1200" cap="all" spc="100" normalizeH="0" baseline="0" noProof="0" dirty="0">
              <a:ln>
                <a:noFill/>
              </a:ln>
              <a:solidFill>
                <a:prstClr val="black">
                  <a:tint val="75000"/>
                </a:prstClr>
              </a:solidFill>
              <a:effectLst/>
              <a:uLnTx/>
              <a:uFillTx/>
              <a:latin typeface="Source Sans Pro"/>
              <a:cs typeface="+mn-cs"/>
            </a:endParaRPr>
          </a:p>
        </p:txBody>
      </p:sp>
      <p:sp>
        <p:nvSpPr>
          <p:cNvPr id="32" name="Footer Placeholder 179">
            <a:extLst>
              <a:ext uri="{FF2B5EF4-FFF2-40B4-BE49-F238E27FC236}">
                <a16:creationId xmlns:a16="http://schemas.microsoft.com/office/drawing/2014/main" id="{77213597-1706-40A7-8726-C468FB7F4388}"/>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dirty="0">
                <a:ln>
                  <a:noFill/>
                </a:ln>
                <a:solidFill>
                  <a:prstClr val="black">
                    <a:tint val="75000"/>
                  </a:prstClr>
                </a:solidFill>
                <a:effectLst/>
                <a:uLnTx/>
                <a:uFillTx/>
                <a:latin typeface="Source Sans Pro"/>
                <a:cs typeface="+mn-cs"/>
              </a:rPr>
              <a:t>PRESENTATION TITLE</a:t>
            </a:r>
          </a:p>
        </p:txBody>
      </p:sp>
      <p:sp>
        <p:nvSpPr>
          <p:cNvPr id="33" name="Slide Number Placeholder 180">
            <a:extLst>
              <a:ext uri="{FF2B5EF4-FFF2-40B4-BE49-F238E27FC236}">
                <a16:creationId xmlns:a16="http://schemas.microsoft.com/office/drawing/2014/main" id="{1BB201C7-C50B-4E2B-95EF-E5FFAF698DBA}"/>
              </a:ext>
            </a:extLst>
          </p:cNvPr>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792F7-1D9E-4C7E-A103-E8EDFDC2691E}" type="slidenum">
              <a:rPr kumimoji="0" lang="en-US" sz="1200" b="1" i="0" u="none" strike="noStrike" kern="1200" cap="all" spc="100" normalizeH="0" baseline="0" noProof="0" smtClean="0">
                <a:ln>
                  <a:noFill/>
                </a:ln>
                <a:solidFill>
                  <a:prstClr val="black">
                    <a:tint val="75000"/>
                  </a:prstClr>
                </a:solidFill>
                <a:effectLst/>
                <a:uLnTx/>
                <a:uFillTx/>
                <a:latin typeface="Source Sans Pro"/>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all" spc="100" normalizeH="0" baseline="0" noProof="0" dirty="0">
              <a:ln>
                <a:noFill/>
              </a:ln>
              <a:solidFill>
                <a:prstClr val="black">
                  <a:tint val="75000"/>
                </a:prstClr>
              </a:solidFill>
              <a:effectLst/>
              <a:uLnTx/>
              <a:uFillTx/>
              <a:latin typeface="Source Sans Pro"/>
              <a:cs typeface="+mn-cs"/>
            </a:endParaRPr>
          </a:p>
        </p:txBody>
      </p:sp>
    </p:spTree>
    <p:extLst>
      <p:ext uri="{BB962C8B-B14F-4D97-AF65-F5344CB8AC3E}">
        <p14:creationId xmlns:p14="http://schemas.microsoft.com/office/powerpoint/2010/main" val="4040454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8AD96798-1C42-49B1-99B2-BD7FA12760FC}"/>
              </a:ext>
              <a:ext uri="{C183D7F6-B498-43B3-948B-1728B52AA6E4}">
                <adec:decorative xmlns:adec="http://schemas.microsoft.com/office/drawing/2017/decorative" val="1"/>
              </a:ext>
            </a:extLst>
          </p:cNvPr>
          <p:cNvSpPr/>
          <p:nvPr userDrawn="1"/>
        </p:nvSpPr>
        <p:spPr>
          <a:xfrm>
            <a:off x="1" y="2"/>
            <a:ext cx="2232251" cy="2361890"/>
          </a:xfrm>
          <a:custGeom>
            <a:avLst/>
            <a:gdLst>
              <a:gd name="connsiteX0" fmla="*/ 2292284 w 3871489"/>
              <a:gd name="connsiteY0" fmla="*/ 0 h 4096327"/>
              <a:gd name="connsiteX1" fmla="*/ 3500914 w 3871489"/>
              <a:gd name="connsiteY1" fmla="*/ 0 h 4096327"/>
              <a:gd name="connsiteX2" fmla="*/ 3542229 w 3871489"/>
              <a:gd name="connsiteY2" fmla="*/ 68006 h 4096327"/>
              <a:gd name="connsiteX3" fmla="*/ 3871489 w 3871489"/>
              <a:gd name="connsiteY3" fmla="*/ 1368323 h 4096327"/>
              <a:gd name="connsiteX4" fmla="*/ 1143485 w 3871489"/>
              <a:gd name="connsiteY4" fmla="*/ 4096327 h 4096327"/>
              <a:gd name="connsiteX5" fmla="*/ 81633 w 3871489"/>
              <a:gd name="connsiteY5" fmla="*/ 3881944 h 4096327"/>
              <a:gd name="connsiteX6" fmla="*/ 0 w 3871489"/>
              <a:gd name="connsiteY6" fmla="*/ 3842618 h 4096327"/>
              <a:gd name="connsiteX7" fmla="*/ 0 w 3871489"/>
              <a:gd name="connsiteY7" fmla="*/ 2741475 h 4096327"/>
              <a:gd name="connsiteX8" fmla="*/ 6615 w 3871489"/>
              <a:gd name="connsiteY8" fmla="*/ 2747487 h 4096327"/>
              <a:gd name="connsiteX9" fmla="*/ 1143485 w 3871489"/>
              <a:gd name="connsiteY9" fmla="*/ 3155655 h 4096327"/>
              <a:gd name="connsiteX10" fmla="*/ 2930817 w 3871489"/>
              <a:gd name="connsiteY10" fmla="*/ 1368323 h 4096327"/>
              <a:gd name="connsiteX11" fmla="*/ 2407287 w 3871489"/>
              <a:gd name="connsiteY11" fmla="*/ 104524 h 409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71489" h="4096327">
                <a:moveTo>
                  <a:pt x="2292284" y="0"/>
                </a:moveTo>
                <a:lnTo>
                  <a:pt x="3500914" y="0"/>
                </a:lnTo>
                <a:lnTo>
                  <a:pt x="3542229" y="68006"/>
                </a:lnTo>
                <a:cubicBezTo>
                  <a:pt x="3752213" y="454545"/>
                  <a:pt x="3871489" y="897507"/>
                  <a:pt x="3871489" y="1368323"/>
                </a:cubicBezTo>
                <a:cubicBezTo>
                  <a:pt x="3871489" y="2874936"/>
                  <a:pt x="2650098" y="4096327"/>
                  <a:pt x="1143485" y="4096327"/>
                </a:cubicBezTo>
                <a:cubicBezTo>
                  <a:pt x="766832" y="4096327"/>
                  <a:pt x="408006" y="4019990"/>
                  <a:pt x="81633" y="3881944"/>
                </a:cubicBezTo>
                <a:lnTo>
                  <a:pt x="0" y="3842618"/>
                </a:lnTo>
                <a:lnTo>
                  <a:pt x="0" y="2741475"/>
                </a:lnTo>
                <a:lnTo>
                  <a:pt x="6615" y="2747487"/>
                </a:lnTo>
                <a:cubicBezTo>
                  <a:pt x="315579" y="3002472"/>
                  <a:pt x="711663" y="3155655"/>
                  <a:pt x="1143485" y="3155655"/>
                </a:cubicBezTo>
                <a:cubicBezTo>
                  <a:pt x="2130515" y="3155655"/>
                  <a:pt x="2930817" y="2355353"/>
                  <a:pt x="2930817" y="1368323"/>
                </a:cubicBezTo>
                <a:cubicBezTo>
                  <a:pt x="2930817" y="874812"/>
                  <a:pt x="2730741" y="427979"/>
                  <a:pt x="2407287" y="104524"/>
                </a:cubicBezTo>
                <a:close/>
              </a:path>
            </a:pathLst>
          </a:cu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80BD"/>
              </a:solidFill>
              <a:effectLst/>
              <a:uLnTx/>
              <a:uFillTx/>
              <a:latin typeface="Source Sans Pro"/>
              <a:ea typeface="+mn-ea"/>
              <a:cs typeface="+mn-cs"/>
            </a:endParaRPr>
          </a:p>
        </p:txBody>
      </p:sp>
      <p:sp>
        <p:nvSpPr>
          <p:cNvPr id="18" name="Title 1">
            <a:extLst>
              <a:ext uri="{FF2B5EF4-FFF2-40B4-BE49-F238E27FC236}">
                <a16:creationId xmlns:a16="http://schemas.microsoft.com/office/drawing/2014/main" id="{00FC1B25-A4F4-4E8E-931D-D383946C91FC}"/>
              </a:ext>
            </a:extLst>
          </p:cNvPr>
          <p:cNvSpPr>
            <a:spLocks noGrp="1"/>
          </p:cNvSpPr>
          <p:nvPr>
            <p:ph type="title"/>
          </p:nvPr>
        </p:nvSpPr>
        <p:spPr>
          <a:xfrm>
            <a:off x="2838271" y="1010170"/>
            <a:ext cx="5178019" cy="3713638"/>
          </a:xfrm>
        </p:spPr>
        <p:txBody>
          <a:bodyPr anchor="ctr"/>
          <a:lstStyle>
            <a:lvl1pPr algn="ctr">
              <a:lnSpc>
                <a:spcPct val="100000"/>
              </a:lnSpc>
              <a:defRPr/>
            </a:lvl1pPr>
          </a:lstStyle>
          <a:p>
            <a:r>
              <a:rPr lang="en-US"/>
              <a:t>Click to edit Master title style</a:t>
            </a:r>
            <a:endParaRPr lang="en-US" dirty="0"/>
          </a:p>
        </p:txBody>
      </p:sp>
      <p:sp>
        <p:nvSpPr>
          <p:cNvPr id="36" name="Text Placeholder 34">
            <a:extLst>
              <a:ext uri="{FF2B5EF4-FFF2-40B4-BE49-F238E27FC236}">
                <a16:creationId xmlns:a16="http://schemas.microsoft.com/office/drawing/2014/main" id="{72818B4A-C05A-428C-A790-B75EA386A25F}"/>
              </a:ext>
            </a:extLst>
          </p:cNvPr>
          <p:cNvSpPr>
            <a:spLocks noGrp="1"/>
          </p:cNvSpPr>
          <p:nvPr>
            <p:ph type="body" sz="quarter" idx="13" hasCustomPrompt="1"/>
          </p:nvPr>
        </p:nvSpPr>
        <p:spPr>
          <a:xfrm>
            <a:off x="2838044" y="4914900"/>
            <a:ext cx="5178514" cy="819076"/>
          </a:xfrm>
        </p:spPr>
        <p:txBody>
          <a:bodyPr/>
          <a:lstStyle>
            <a:lvl1pPr algn="ctr">
              <a:buFontTx/>
              <a:buNone/>
              <a:defRPr/>
            </a:lvl1pPr>
          </a:lstStyle>
          <a:p>
            <a:pPr lvl="0"/>
            <a:r>
              <a:rPr lang="en-US" dirty="0"/>
              <a:t>Click to add text</a:t>
            </a:r>
          </a:p>
        </p:txBody>
      </p:sp>
      <p:sp>
        <p:nvSpPr>
          <p:cNvPr id="19" name="Freeform: Shape 18">
            <a:extLst>
              <a:ext uri="{FF2B5EF4-FFF2-40B4-BE49-F238E27FC236}">
                <a16:creationId xmlns:a16="http://schemas.microsoft.com/office/drawing/2014/main" id="{176E197B-E174-4C9D-87E5-0B9B08708760}"/>
              </a:ext>
              <a:ext uri="{C183D7F6-B498-43B3-948B-1728B52AA6E4}">
                <adec:decorative xmlns:adec="http://schemas.microsoft.com/office/drawing/2017/decorative" val="1"/>
              </a:ext>
            </a:extLst>
          </p:cNvPr>
          <p:cNvSpPr/>
          <p:nvPr userDrawn="1"/>
        </p:nvSpPr>
        <p:spPr>
          <a:xfrm>
            <a:off x="0" y="292656"/>
            <a:ext cx="1861854" cy="277779"/>
          </a:xfrm>
          <a:custGeom>
            <a:avLst/>
            <a:gdLst>
              <a:gd name="connsiteX0" fmla="*/ 180458 w 1861854"/>
              <a:gd name="connsiteY0" fmla="*/ 0 h 277779"/>
              <a:gd name="connsiteX1" fmla="*/ 419222 w 1861854"/>
              <a:gd name="connsiteY1" fmla="*/ 238761 h 277779"/>
              <a:gd name="connsiteX2" fmla="*/ 657984 w 1861854"/>
              <a:gd name="connsiteY2" fmla="*/ 0 h 277779"/>
              <a:gd name="connsiteX3" fmla="*/ 896745 w 1861854"/>
              <a:gd name="connsiteY3" fmla="*/ 238761 h 277779"/>
              <a:gd name="connsiteX4" fmla="*/ 1135754 w 1861854"/>
              <a:gd name="connsiteY4" fmla="*/ 0 h 277779"/>
              <a:gd name="connsiteX5" fmla="*/ 1374516 w 1861854"/>
              <a:gd name="connsiteY5" fmla="*/ 238761 h 277779"/>
              <a:gd name="connsiteX6" fmla="*/ 1613277 w 1861854"/>
              <a:gd name="connsiteY6" fmla="*/ 0 h 277779"/>
              <a:gd name="connsiteX7" fmla="*/ 1861854 w 1861854"/>
              <a:gd name="connsiteY7" fmla="*/ 248577 h 277779"/>
              <a:gd name="connsiteX8" fmla="*/ 1842470 w 1861854"/>
              <a:gd name="connsiteY8" fmla="*/ 267963 h 277779"/>
              <a:gd name="connsiteX9" fmla="*/ 1613277 w 1861854"/>
              <a:gd name="connsiteY9" fmla="*/ 39017 h 277779"/>
              <a:gd name="connsiteX10" fmla="*/ 1374516 w 1861854"/>
              <a:gd name="connsiteY10" fmla="*/ 277779 h 277779"/>
              <a:gd name="connsiteX11" fmla="*/ 1135754 w 1861854"/>
              <a:gd name="connsiteY11" fmla="*/ 39017 h 277779"/>
              <a:gd name="connsiteX12" fmla="*/ 896745 w 1861854"/>
              <a:gd name="connsiteY12" fmla="*/ 277779 h 277779"/>
              <a:gd name="connsiteX13" fmla="*/ 657984 w 1861854"/>
              <a:gd name="connsiteY13" fmla="*/ 39017 h 277779"/>
              <a:gd name="connsiteX14" fmla="*/ 419222 w 1861854"/>
              <a:gd name="connsiteY14" fmla="*/ 277779 h 277779"/>
              <a:gd name="connsiteX15" fmla="*/ 180458 w 1861854"/>
              <a:gd name="connsiteY15" fmla="*/ 39017 h 277779"/>
              <a:gd name="connsiteX16" fmla="*/ 0 w 1861854"/>
              <a:gd name="connsiteY16" fmla="*/ 219283 h 277779"/>
              <a:gd name="connsiteX17" fmla="*/ 0 w 1861854"/>
              <a:gd name="connsiteY17" fmla="*/ 180458 h 27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1854" h="277779">
                <a:moveTo>
                  <a:pt x="180458" y="0"/>
                </a:moveTo>
                <a:lnTo>
                  <a:pt x="419222" y="238761"/>
                </a:lnTo>
                <a:lnTo>
                  <a:pt x="657984" y="0"/>
                </a:lnTo>
                <a:lnTo>
                  <a:pt x="896745" y="238761"/>
                </a:lnTo>
                <a:lnTo>
                  <a:pt x="1135754" y="0"/>
                </a:lnTo>
                <a:lnTo>
                  <a:pt x="1374516" y="238761"/>
                </a:lnTo>
                <a:lnTo>
                  <a:pt x="1613277" y="0"/>
                </a:lnTo>
                <a:lnTo>
                  <a:pt x="1861854" y="248577"/>
                </a:lnTo>
                <a:lnTo>
                  <a:pt x="1842470" y="267963"/>
                </a:lnTo>
                <a:lnTo>
                  <a:pt x="1613277" y="39017"/>
                </a:lnTo>
                <a:lnTo>
                  <a:pt x="1374516" y="277779"/>
                </a:lnTo>
                <a:lnTo>
                  <a:pt x="1135754" y="39017"/>
                </a:lnTo>
                <a:lnTo>
                  <a:pt x="896745" y="277779"/>
                </a:lnTo>
                <a:lnTo>
                  <a:pt x="657984" y="39017"/>
                </a:lnTo>
                <a:lnTo>
                  <a:pt x="419222" y="277779"/>
                </a:lnTo>
                <a:lnTo>
                  <a:pt x="180458" y="39017"/>
                </a:lnTo>
                <a:lnTo>
                  <a:pt x="0" y="219283"/>
                </a:lnTo>
                <a:lnTo>
                  <a:pt x="0" y="180458"/>
                </a:lnTo>
                <a:close/>
              </a:path>
            </a:pathLst>
          </a:custGeom>
          <a:solidFill>
            <a:schemeClr val="tx1"/>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 name="Freeform: Shape 19">
            <a:extLst>
              <a:ext uri="{FF2B5EF4-FFF2-40B4-BE49-F238E27FC236}">
                <a16:creationId xmlns:a16="http://schemas.microsoft.com/office/drawing/2014/main" id="{517AB840-B4B7-452B-B062-6C9CF8426132}"/>
              </a:ext>
              <a:ext uri="{C183D7F6-B498-43B3-948B-1728B52AA6E4}">
                <adec:decorative xmlns:adec="http://schemas.microsoft.com/office/drawing/2017/decorative" val="1"/>
              </a:ext>
            </a:extLst>
          </p:cNvPr>
          <p:cNvSpPr/>
          <p:nvPr userDrawn="1"/>
        </p:nvSpPr>
        <p:spPr>
          <a:xfrm>
            <a:off x="0" y="732391"/>
            <a:ext cx="1861854" cy="277779"/>
          </a:xfrm>
          <a:custGeom>
            <a:avLst/>
            <a:gdLst>
              <a:gd name="connsiteX0" fmla="*/ 180458 w 1861854"/>
              <a:gd name="connsiteY0" fmla="*/ 0 h 277779"/>
              <a:gd name="connsiteX1" fmla="*/ 419222 w 1861854"/>
              <a:gd name="connsiteY1" fmla="*/ 238761 h 277779"/>
              <a:gd name="connsiteX2" fmla="*/ 657984 w 1861854"/>
              <a:gd name="connsiteY2" fmla="*/ 0 h 277779"/>
              <a:gd name="connsiteX3" fmla="*/ 896745 w 1861854"/>
              <a:gd name="connsiteY3" fmla="*/ 238761 h 277779"/>
              <a:gd name="connsiteX4" fmla="*/ 1135754 w 1861854"/>
              <a:gd name="connsiteY4" fmla="*/ 0 h 277779"/>
              <a:gd name="connsiteX5" fmla="*/ 1374516 w 1861854"/>
              <a:gd name="connsiteY5" fmla="*/ 238761 h 277779"/>
              <a:gd name="connsiteX6" fmla="*/ 1613277 w 1861854"/>
              <a:gd name="connsiteY6" fmla="*/ 0 h 277779"/>
              <a:gd name="connsiteX7" fmla="*/ 1861854 w 1861854"/>
              <a:gd name="connsiteY7" fmla="*/ 248577 h 277779"/>
              <a:gd name="connsiteX8" fmla="*/ 1842470 w 1861854"/>
              <a:gd name="connsiteY8" fmla="*/ 268208 h 277779"/>
              <a:gd name="connsiteX9" fmla="*/ 1613277 w 1861854"/>
              <a:gd name="connsiteY9" fmla="*/ 39017 h 277779"/>
              <a:gd name="connsiteX10" fmla="*/ 1374516 w 1861854"/>
              <a:gd name="connsiteY10" fmla="*/ 277779 h 277779"/>
              <a:gd name="connsiteX11" fmla="*/ 1135754 w 1861854"/>
              <a:gd name="connsiteY11" fmla="*/ 39017 h 277779"/>
              <a:gd name="connsiteX12" fmla="*/ 896745 w 1861854"/>
              <a:gd name="connsiteY12" fmla="*/ 277779 h 277779"/>
              <a:gd name="connsiteX13" fmla="*/ 657984 w 1861854"/>
              <a:gd name="connsiteY13" fmla="*/ 39017 h 277779"/>
              <a:gd name="connsiteX14" fmla="*/ 419222 w 1861854"/>
              <a:gd name="connsiteY14" fmla="*/ 277779 h 277779"/>
              <a:gd name="connsiteX15" fmla="*/ 180458 w 1861854"/>
              <a:gd name="connsiteY15" fmla="*/ 39017 h 277779"/>
              <a:gd name="connsiteX16" fmla="*/ 0 w 1861854"/>
              <a:gd name="connsiteY16" fmla="*/ 219475 h 277779"/>
              <a:gd name="connsiteX17" fmla="*/ 0 w 1861854"/>
              <a:gd name="connsiteY17" fmla="*/ 180458 h 27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1854" h="277779">
                <a:moveTo>
                  <a:pt x="180458" y="0"/>
                </a:moveTo>
                <a:lnTo>
                  <a:pt x="419222" y="238761"/>
                </a:lnTo>
                <a:lnTo>
                  <a:pt x="657984" y="0"/>
                </a:lnTo>
                <a:lnTo>
                  <a:pt x="896745" y="238761"/>
                </a:lnTo>
                <a:lnTo>
                  <a:pt x="1135754" y="0"/>
                </a:lnTo>
                <a:lnTo>
                  <a:pt x="1374516" y="238761"/>
                </a:lnTo>
                <a:lnTo>
                  <a:pt x="1613277" y="0"/>
                </a:lnTo>
                <a:lnTo>
                  <a:pt x="1861854" y="248577"/>
                </a:lnTo>
                <a:lnTo>
                  <a:pt x="1842470" y="268208"/>
                </a:lnTo>
                <a:lnTo>
                  <a:pt x="1613277" y="39017"/>
                </a:lnTo>
                <a:lnTo>
                  <a:pt x="1374516" y="277779"/>
                </a:lnTo>
                <a:lnTo>
                  <a:pt x="1135754" y="39017"/>
                </a:lnTo>
                <a:lnTo>
                  <a:pt x="896745" y="277779"/>
                </a:lnTo>
                <a:lnTo>
                  <a:pt x="657984" y="39017"/>
                </a:lnTo>
                <a:lnTo>
                  <a:pt x="419222" y="277779"/>
                </a:lnTo>
                <a:lnTo>
                  <a:pt x="180458" y="39017"/>
                </a:lnTo>
                <a:lnTo>
                  <a:pt x="0" y="219475"/>
                </a:lnTo>
                <a:lnTo>
                  <a:pt x="0" y="180458"/>
                </a:lnTo>
                <a:close/>
              </a:path>
            </a:pathLst>
          </a:custGeom>
          <a:solidFill>
            <a:schemeClr val="tx1"/>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 name="Freeform: Shape 21">
            <a:extLst>
              <a:ext uri="{FF2B5EF4-FFF2-40B4-BE49-F238E27FC236}">
                <a16:creationId xmlns:a16="http://schemas.microsoft.com/office/drawing/2014/main" id="{9FE5D1B6-33F6-4BAA-9D02-679E176F39C4}"/>
              </a:ext>
              <a:ext uri="{C183D7F6-B498-43B3-948B-1728B52AA6E4}">
                <adec:decorative xmlns:adec="http://schemas.microsoft.com/office/drawing/2017/decorative" val="1"/>
              </a:ext>
            </a:extLst>
          </p:cNvPr>
          <p:cNvSpPr/>
          <p:nvPr userDrawn="1"/>
        </p:nvSpPr>
        <p:spPr>
          <a:xfrm>
            <a:off x="1" y="2"/>
            <a:ext cx="2232251" cy="2361890"/>
          </a:xfrm>
          <a:custGeom>
            <a:avLst/>
            <a:gdLst>
              <a:gd name="connsiteX0" fmla="*/ 2292284 w 3871489"/>
              <a:gd name="connsiteY0" fmla="*/ 0 h 4096327"/>
              <a:gd name="connsiteX1" fmla="*/ 3500914 w 3871489"/>
              <a:gd name="connsiteY1" fmla="*/ 0 h 4096327"/>
              <a:gd name="connsiteX2" fmla="*/ 3542229 w 3871489"/>
              <a:gd name="connsiteY2" fmla="*/ 68006 h 4096327"/>
              <a:gd name="connsiteX3" fmla="*/ 3871489 w 3871489"/>
              <a:gd name="connsiteY3" fmla="*/ 1368323 h 4096327"/>
              <a:gd name="connsiteX4" fmla="*/ 1143485 w 3871489"/>
              <a:gd name="connsiteY4" fmla="*/ 4096327 h 4096327"/>
              <a:gd name="connsiteX5" fmla="*/ 81633 w 3871489"/>
              <a:gd name="connsiteY5" fmla="*/ 3881944 h 4096327"/>
              <a:gd name="connsiteX6" fmla="*/ 0 w 3871489"/>
              <a:gd name="connsiteY6" fmla="*/ 3842618 h 4096327"/>
              <a:gd name="connsiteX7" fmla="*/ 0 w 3871489"/>
              <a:gd name="connsiteY7" fmla="*/ 2741475 h 4096327"/>
              <a:gd name="connsiteX8" fmla="*/ 6615 w 3871489"/>
              <a:gd name="connsiteY8" fmla="*/ 2747487 h 4096327"/>
              <a:gd name="connsiteX9" fmla="*/ 1143485 w 3871489"/>
              <a:gd name="connsiteY9" fmla="*/ 3155655 h 4096327"/>
              <a:gd name="connsiteX10" fmla="*/ 2930817 w 3871489"/>
              <a:gd name="connsiteY10" fmla="*/ 1368323 h 4096327"/>
              <a:gd name="connsiteX11" fmla="*/ 2407287 w 3871489"/>
              <a:gd name="connsiteY11" fmla="*/ 104524 h 409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71489" h="4096327">
                <a:moveTo>
                  <a:pt x="2292284" y="0"/>
                </a:moveTo>
                <a:lnTo>
                  <a:pt x="3500914" y="0"/>
                </a:lnTo>
                <a:lnTo>
                  <a:pt x="3542229" y="68006"/>
                </a:lnTo>
                <a:cubicBezTo>
                  <a:pt x="3752213" y="454545"/>
                  <a:pt x="3871489" y="897507"/>
                  <a:pt x="3871489" y="1368323"/>
                </a:cubicBezTo>
                <a:cubicBezTo>
                  <a:pt x="3871489" y="2874936"/>
                  <a:pt x="2650098" y="4096327"/>
                  <a:pt x="1143485" y="4096327"/>
                </a:cubicBezTo>
                <a:cubicBezTo>
                  <a:pt x="766832" y="4096327"/>
                  <a:pt x="408006" y="4019990"/>
                  <a:pt x="81633" y="3881944"/>
                </a:cubicBezTo>
                <a:lnTo>
                  <a:pt x="0" y="3842618"/>
                </a:lnTo>
                <a:lnTo>
                  <a:pt x="0" y="2741475"/>
                </a:lnTo>
                <a:lnTo>
                  <a:pt x="6615" y="2747487"/>
                </a:lnTo>
                <a:cubicBezTo>
                  <a:pt x="315579" y="3002472"/>
                  <a:pt x="711663" y="3155655"/>
                  <a:pt x="1143485" y="3155655"/>
                </a:cubicBezTo>
                <a:cubicBezTo>
                  <a:pt x="2130515" y="3155655"/>
                  <a:pt x="2930817" y="2355353"/>
                  <a:pt x="2930817" y="1368323"/>
                </a:cubicBezTo>
                <a:cubicBezTo>
                  <a:pt x="2930817" y="874812"/>
                  <a:pt x="2730741" y="427979"/>
                  <a:pt x="2407287" y="104524"/>
                </a:cubicBezTo>
                <a:close/>
              </a:path>
            </a:pathLst>
          </a:custGeom>
          <a:solidFill>
            <a:schemeClr val="accent3">
              <a:alpha val="2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80BD"/>
              </a:solidFill>
              <a:effectLst/>
              <a:uLnTx/>
              <a:uFillTx/>
              <a:latin typeface="Source Sans Pro"/>
              <a:ea typeface="+mn-ea"/>
              <a:cs typeface="+mn-cs"/>
            </a:endParaRPr>
          </a:p>
        </p:txBody>
      </p:sp>
      <p:sp>
        <p:nvSpPr>
          <p:cNvPr id="23" name="Freeform: Shape 22">
            <a:extLst>
              <a:ext uri="{FF2B5EF4-FFF2-40B4-BE49-F238E27FC236}">
                <a16:creationId xmlns:a16="http://schemas.microsoft.com/office/drawing/2014/main" id="{0DCCBCA1-466D-44C6-93ED-2E02B623DB05}"/>
              </a:ext>
              <a:ext uri="{C183D7F6-B498-43B3-948B-1728B52AA6E4}">
                <adec:decorative xmlns:adec="http://schemas.microsoft.com/office/drawing/2017/decorative" val="1"/>
              </a:ext>
            </a:extLst>
          </p:cNvPr>
          <p:cNvSpPr/>
          <p:nvPr userDrawn="1"/>
        </p:nvSpPr>
        <p:spPr>
          <a:xfrm>
            <a:off x="8759419" y="3564607"/>
            <a:ext cx="3432581" cy="3293393"/>
          </a:xfrm>
          <a:custGeom>
            <a:avLst/>
            <a:gdLst>
              <a:gd name="connsiteX0" fmla="*/ 2473947 w 3432581"/>
              <a:gd name="connsiteY0" fmla="*/ 0 h 3293393"/>
              <a:gd name="connsiteX1" fmla="*/ 3209623 w 3432581"/>
              <a:gd name="connsiteY1" fmla="*/ 111224 h 3293393"/>
              <a:gd name="connsiteX2" fmla="*/ 3432581 w 3432581"/>
              <a:gd name="connsiteY2" fmla="*/ 192828 h 3293393"/>
              <a:gd name="connsiteX3" fmla="*/ 3432581 w 3432581"/>
              <a:gd name="connsiteY3" fmla="*/ 3293393 h 3293393"/>
              <a:gd name="connsiteX4" fmla="*/ 141884 w 3432581"/>
              <a:gd name="connsiteY4" fmla="*/ 3293393 h 3293393"/>
              <a:gd name="connsiteX5" fmla="*/ 111224 w 3432581"/>
              <a:gd name="connsiteY5" fmla="*/ 3209623 h 3293393"/>
              <a:gd name="connsiteX6" fmla="*/ 0 w 3432581"/>
              <a:gd name="connsiteY6" fmla="*/ 2473947 h 3293393"/>
              <a:gd name="connsiteX7" fmla="*/ 2473947 w 3432581"/>
              <a:gd name="connsiteY7" fmla="*/ 0 h 329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2581" h="3293393">
                <a:moveTo>
                  <a:pt x="2473947" y="0"/>
                </a:moveTo>
                <a:cubicBezTo>
                  <a:pt x="2730133" y="0"/>
                  <a:pt x="2977223" y="38940"/>
                  <a:pt x="3209623" y="111224"/>
                </a:cubicBezTo>
                <a:lnTo>
                  <a:pt x="3432581" y="192828"/>
                </a:lnTo>
                <a:lnTo>
                  <a:pt x="3432581" y="3293393"/>
                </a:lnTo>
                <a:lnTo>
                  <a:pt x="141884" y="3293393"/>
                </a:lnTo>
                <a:lnTo>
                  <a:pt x="111224" y="3209623"/>
                </a:lnTo>
                <a:cubicBezTo>
                  <a:pt x="38940" y="2977224"/>
                  <a:pt x="0" y="2730133"/>
                  <a:pt x="0" y="2473947"/>
                </a:cubicBezTo>
                <a:cubicBezTo>
                  <a:pt x="0" y="1107624"/>
                  <a:pt x="1107624" y="0"/>
                  <a:pt x="2473947" y="0"/>
                </a:cubicBezTo>
                <a:close/>
              </a:path>
            </a:pathLst>
          </a:cu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24" name="Freeform: Shape 23">
            <a:extLst>
              <a:ext uri="{FF2B5EF4-FFF2-40B4-BE49-F238E27FC236}">
                <a16:creationId xmlns:a16="http://schemas.microsoft.com/office/drawing/2014/main" id="{2CC7CBB9-9855-4B27-93BF-506D5D17E85B}"/>
              </a:ext>
              <a:ext uri="{C183D7F6-B498-43B3-948B-1728B52AA6E4}">
                <adec:decorative xmlns:adec="http://schemas.microsoft.com/office/drawing/2017/decorative" val="1"/>
              </a:ext>
            </a:extLst>
          </p:cNvPr>
          <p:cNvSpPr/>
          <p:nvPr userDrawn="1"/>
        </p:nvSpPr>
        <p:spPr>
          <a:xfrm>
            <a:off x="8759419" y="3564607"/>
            <a:ext cx="3432581" cy="3293393"/>
          </a:xfrm>
          <a:custGeom>
            <a:avLst/>
            <a:gdLst>
              <a:gd name="connsiteX0" fmla="*/ 2473947 w 3432581"/>
              <a:gd name="connsiteY0" fmla="*/ 0 h 3293393"/>
              <a:gd name="connsiteX1" fmla="*/ 3209623 w 3432581"/>
              <a:gd name="connsiteY1" fmla="*/ 111224 h 3293393"/>
              <a:gd name="connsiteX2" fmla="*/ 3432581 w 3432581"/>
              <a:gd name="connsiteY2" fmla="*/ 192828 h 3293393"/>
              <a:gd name="connsiteX3" fmla="*/ 3432581 w 3432581"/>
              <a:gd name="connsiteY3" fmla="*/ 3293393 h 3293393"/>
              <a:gd name="connsiteX4" fmla="*/ 141884 w 3432581"/>
              <a:gd name="connsiteY4" fmla="*/ 3293393 h 3293393"/>
              <a:gd name="connsiteX5" fmla="*/ 111224 w 3432581"/>
              <a:gd name="connsiteY5" fmla="*/ 3209623 h 3293393"/>
              <a:gd name="connsiteX6" fmla="*/ 0 w 3432581"/>
              <a:gd name="connsiteY6" fmla="*/ 2473947 h 3293393"/>
              <a:gd name="connsiteX7" fmla="*/ 2473947 w 3432581"/>
              <a:gd name="connsiteY7" fmla="*/ 0 h 329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2581" h="3293393">
                <a:moveTo>
                  <a:pt x="2473947" y="0"/>
                </a:moveTo>
                <a:cubicBezTo>
                  <a:pt x="2730133" y="0"/>
                  <a:pt x="2977223" y="38940"/>
                  <a:pt x="3209623" y="111224"/>
                </a:cubicBezTo>
                <a:lnTo>
                  <a:pt x="3432581" y="192828"/>
                </a:lnTo>
                <a:lnTo>
                  <a:pt x="3432581" y="3293393"/>
                </a:lnTo>
                <a:lnTo>
                  <a:pt x="141884" y="3293393"/>
                </a:lnTo>
                <a:lnTo>
                  <a:pt x="111224" y="3209623"/>
                </a:lnTo>
                <a:cubicBezTo>
                  <a:pt x="38940" y="2977224"/>
                  <a:pt x="0" y="2730133"/>
                  <a:pt x="0" y="2473947"/>
                </a:cubicBezTo>
                <a:cubicBezTo>
                  <a:pt x="0" y="1107624"/>
                  <a:pt x="1107624" y="0"/>
                  <a:pt x="2473947" y="0"/>
                </a:cubicBezTo>
                <a:close/>
              </a:path>
            </a:pathLst>
          </a:custGeom>
          <a:solidFill>
            <a:schemeClr val="accent1">
              <a:alpha val="2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26" name="Date Placeholder 178">
            <a:extLst>
              <a:ext uri="{FF2B5EF4-FFF2-40B4-BE49-F238E27FC236}">
                <a16:creationId xmlns:a16="http://schemas.microsoft.com/office/drawing/2014/main" id="{D3B95CCB-4EDF-4C85-82FC-E5FD2A4715E6}"/>
              </a:ext>
            </a:extLst>
          </p:cNvPr>
          <p:cNvSpPr>
            <a:spLocks noGrp="1"/>
          </p:cNvSpPr>
          <p:nvPr>
            <p:ph type="dt" sz="half" idx="10"/>
          </p:nvPr>
        </p:nvSpPr>
        <p:spPr>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a:ln>
                  <a:noFill/>
                </a:ln>
                <a:solidFill>
                  <a:prstClr val="black">
                    <a:tint val="75000"/>
                  </a:prstClr>
                </a:solidFill>
                <a:effectLst/>
                <a:uLnTx/>
                <a:uFillTx/>
                <a:latin typeface="Source Sans Pro"/>
                <a:cs typeface="+mn-cs"/>
              </a:rPr>
              <a:t>2/1/20XX</a:t>
            </a:r>
            <a:endParaRPr kumimoji="0" lang="en-US" sz="1200" b="1" i="0" u="none" strike="noStrike" kern="1200" cap="all" spc="100" normalizeH="0" baseline="0" noProof="0" dirty="0">
              <a:ln>
                <a:noFill/>
              </a:ln>
              <a:solidFill>
                <a:prstClr val="black">
                  <a:tint val="75000"/>
                </a:prstClr>
              </a:solidFill>
              <a:effectLst/>
              <a:uLnTx/>
              <a:uFillTx/>
              <a:latin typeface="Source Sans Pro"/>
              <a:cs typeface="+mn-cs"/>
            </a:endParaRPr>
          </a:p>
        </p:txBody>
      </p:sp>
      <p:sp>
        <p:nvSpPr>
          <p:cNvPr id="27" name="Footer Placeholder 179">
            <a:extLst>
              <a:ext uri="{FF2B5EF4-FFF2-40B4-BE49-F238E27FC236}">
                <a16:creationId xmlns:a16="http://schemas.microsoft.com/office/drawing/2014/main" id="{D8096E0F-A3CE-40F7-AA9D-B43562213203}"/>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dirty="0">
                <a:ln>
                  <a:noFill/>
                </a:ln>
                <a:solidFill>
                  <a:prstClr val="black">
                    <a:tint val="75000"/>
                  </a:prstClr>
                </a:solidFill>
                <a:effectLst/>
                <a:uLnTx/>
                <a:uFillTx/>
                <a:latin typeface="Source Sans Pro"/>
                <a:cs typeface="+mn-cs"/>
              </a:rPr>
              <a:t>PRESENTATION TITLE</a:t>
            </a:r>
          </a:p>
        </p:txBody>
      </p:sp>
      <p:grpSp>
        <p:nvGrpSpPr>
          <p:cNvPr id="28" name="Graphic 185">
            <a:extLst>
              <a:ext uri="{FF2B5EF4-FFF2-40B4-BE49-F238E27FC236}">
                <a16:creationId xmlns:a16="http://schemas.microsoft.com/office/drawing/2014/main" id="{59F51AE6-E003-46BA-A25A-6AFBDC3E73DA}"/>
              </a:ext>
              <a:ext uri="{C183D7F6-B498-43B3-948B-1728B52AA6E4}">
                <adec:decorative xmlns:adec="http://schemas.microsoft.com/office/drawing/2017/decorative" val="1"/>
              </a:ext>
            </a:extLst>
          </p:cNvPr>
          <p:cNvGrpSpPr/>
          <p:nvPr userDrawn="1"/>
        </p:nvGrpSpPr>
        <p:grpSpPr>
          <a:xfrm>
            <a:off x="10428621" y="5660492"/>
            <a:ext cx="1054467" cy="469689"/>
            <a:chOff x="9841624" y="4115729"/>
            <a:chExt cx="602170" cy="268223"/>
          </a:xfrm>
          <a:solidFill>
            <a:schemeClr val="tx1"/>
          </a:solidFill>
        </p:grpSpPr>
        <p:sp>
          <p:nvSpPr>
            <p:cNvPr id="29" name="Freeform: Shape 28">
              <a:extLst>
                <a:ext uri="{FF2B5EF4-FFF2-40B4-BE49-F238E27FC236}">
                  <a16:creationId xmlns:a16="http://schemas.microsoft.com/office/drawing/2014/main" id="{03F73C8B-6AB5-41EB-99EA-3C94CBEBB481}"/>
                </a:ext>
              </a:extLst>
            </p:cNvPr>
            <p:cNvSpPr/>
            <p:nvPr/>
          </p:nvSpPr>
          <p:spPr>
            <a:xfrm>
              <a:off x="9841624" y="4115729"/>
              <a:ext cx="202882" cy="268223"/>
            </a:xfrm>
            <a:custGeom>
              <a:avLst/>
              <a:gdLst>
                <a:gd name="connsiteX0" fmla="*/ 20765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765"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0" name="Freeform: Shape 29">
              <a:extLst>
                <a:ext uri="{FF2B5EF4-FFF2-40B4-BE49-F238E27FC236}">
                  <a16:creationId xmlns:a16="http://schemas.microsoft.com/office/drawing/2014/main" id="{1A666D36-3657-4085-84AA-126594195C1A}"/>
                </a:ext>
              </a:extLst>
            </p:cNvPr>
            <p:cNvSpPr/>
            <p:nvPr/>
          </p:nvSpPr>
          <p:spPr>
            <a:xfrm>
              <a:off x="9941445" y="4115729"/>
              <a:ext cx="202882" cy="268223"/>
            </a:xfrm>
            <a:custGeom>
              <a:avLst/>
              <a:gdLst>
                <a:gd name="connsiteX0" fmla="*/ 20765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765"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1" name="Freeform: Shape 30">
              <a:extLst>
                <a:ext uri="{FF2B5EF4-FFF2-40B4-BE49-F238E27FC236}">
                  <a16:creationId xmlns:a16="http://schemas.microsoft.com/office/drawing/2014/main" id="{B12CF5CD-903D-4879-BBD3-A79140E8186E}"/>
                </a:ext>
              </a:extLst>
            </p:cNvPr>
            <p:cNvSpPr/>
            <p:nvPr/>
          </p:nvSpPr>
          <p:spPr>
            <a:xfrm>
              <a:off x="10041267"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2" name="Freeform: Shape 31">
              <a:extLst>
                <a:ext uri="{FF2B5EF4-FFF2-40B4-BE49-F238E27FC236}">
                  <a16:creationId xmlns:a16="http://schemas.microsoft.com/office/drawing/2014/main" id="{9EF969CD-CBA7-44B8-9544-660D7487A3D4}"/>
                </a:ext>
              </a:extLst>
            </p:cNvPr>
            <p:cNvSpPr/>
            <p:nvPr/>
          </p:nvSpPr>
          <p:spPr>
            <a:xfrm>
              <a:off x="10141090"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3" name="Freeform: Shape 32">
              <a:extLst>
                <a:ext uri="{FF2B5EF4-FFF2-40B4-BE49-F238E27FC236}">
                  <a16:creationId xmlns:a16="http://schemas.microsoft.com/office/drawing/2014/main" id="{6E91C2FB-38ED-4DF7-8F1F-3211A0592A47}"/>
                </a:ext>
              </a:extLst>
            </p:cNvPr>
            <p:cNvSpPr/>
            <p:nvPr/>
          </p:nvSpPr>
          <p:spPr>
            <a:xfrm>
              <a:off x="10240911" y="4115729"/>
              <a:ext cx="202882" cy="268223"/>
            </a:xfrm>
            <a:custGeom>
              <a:avLst/>
              <a:gdLst>
                <a:gd name="connsiteX0" fmla="*/ 20669 w 202882"/>
                <a:gd name="connsiteY0" fmla="*/ 268224 h 268223"/>
                <a:gd name="connsiteX1" fmla="*/ 0 w 202882"/>
                <a:gd name="connsiteY1" fmla="*/ 268224 h 268223"/>
                <a:gd name="connsiteX2" fmla="*/ 182118 w 202882"/>
                <a:gd name="connsiteY2" fmla="*/ 0 h 268223"/>
                <a:gd name="connsiteX3" fmla="*/ 202883 w 202882"/>
                <a:gd name="connsiteY3" fmla="*/ 0 h 268223"/>
              </a:gdLst>
              <a:ahLst/>
              <a:cxnLst>
                <a:cxn ang="0">
                  <a:pos x="connsiteX0" y="connsiteY0"/>
                </a:cxn>
                <a:cxn ang="0">
                  <a:pos x="connsiteX1" y="connsiteY1"/>
                </a:cxn>
                <a:cxn ang="0">
                  <a:pos x="connsiteX2" y="connsiteY2"/>
                </a:cxn>
                <a:cxn ang="0">
                  <a:pos x="connsiteX3" y="connsiteY3"/>
                </a:cxn>
              </a:cxnLst>
              <a:rect l="l" t="t" r="r" b="b"/>
              <a:pathLst>
                <a:path w="202882" h="268223">
                  <a:moveTo>
                    <a:pt x="20669" y="268224"/>
                  </a:moveTo>
                  <a:lnTo>
                    <a:pt x="0" y="268224"/>
                  </a:lnTo>
                  <a:lnTo>
                    <a:pt x="182118" y="0"/>
                  </a:lnTo>
                  <a:lnTo>
                    <a:pt x="20288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grpSp>
      <p:sp>
        <p:nvSpPr>
          <p:cNvPr id="34" name="Slide Number Placeholder 180">
            <a:extLst>
              <a:ext uri="{FF2B5EF4-FFF2-40B4-BE49-F238E27FC236}">
                <a16:creationId xmlns:a16="http://schemas.microsoft.com/office/drawing/2014/main" id="{383FF74A-FDDF-4768-9C1E-E6F3E66228E9}"/>
              </a:ext>
            </a:extLst>
          </p:cNvPr>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A792F7-1D9E-4C7E-A103-E8EDFDC2691E}" type="slidenum">
              <a:rPr kumimoji="0" lang="en-US" sz="1200" b="1" i="0" u="none" strike="noStrike" kern="1200" cap="all" spc="100" normalizeH="0" baseline="0" noProof="0" smtClean="0">
                <a:ln>
                  <a:noFill/>
                </a:ln>
                <a:solidFill>
                  <a:srgbClr val="898989"/>
                </a:solidFill>
                <a:effectLst/>
                <a:uLnTx/>
                <a:uFillTx/>
                <a:latin typeface="Source Sans Pro"/>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all" spc="100" normalizeH="0" baseline="0" noProof="0" dirty="0">
              <a:ln>
                <a:noFill/>
              </a:ln>
              <a:solidFill>
                <a:srgbClr val="898989"/>
              </a:solidFill>
              <a:effectLst/>
              <a:uLnTx/>
              <a:uFillTx/>
              <a:latin typeface="Source Sans Pro"/>
              <a:cs typeface="+mn-cs"/>
            </a:endParaRPr>
          </a:p>
        </p:txBody>
      </p:sp>
    </p:spTree>
    <p:extLst>
      <p:ext uri="{BB962C8B-B14F-4D97-AF65-F5344CB8AC3E}">
        <p14:creationId xmlns:p14="http://schemas.microsoft.com/office/powerpoint/2010/main" val="39973500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56" name="Title 1">
            <a:extLst>
              <a:ext uri="{FF2B5EF4-FFF2-40B4-BE49-F238E27FC236}">
                <a16:creationId xmlns:a16="http://schemas.microsoft.com/office/drawing/2014/main" id="{08711333-F819-4928-8BA2-B03A1D7447F6}"/>
              </a:ext>
            </a:extLst>
          </p:cNvPr>
          <p:cNvSpPr>
            <a:spLocks noGrp="1"/>
          </p:cNvSpPr>
          <p:nvPr>
            <p:ph type="title"/>
          </p:nvPr>
        </p:nvSpPr>
        <p:spPr>
          <a:xfrm>
            <a:off x="1331088" y="565739"/>
            <a:ext cx="9745883" cy="1124949"/>
          </a:xfrm>
        </p:spPr>
        <p:txBody>
          <a:bodyPr/>
          <a:lstStyle/>
          <a:p>
            <a:r>
              <a:rPr lang="en-US"/>
              <a:t>Click to edit Master title style</a:t>
            </a:r>
            <a:endParaRPr lang="en-US" dirty="0"/>
          </a:p>
        </p:txBody>
      </p:sp>
      <p:grpSp>
        <p:nvGrpSpPr>
          <p:cNvPr id="2" name="Group 1">
            <a:extLst>
              <a:ext uri="{FF2B5EF4-FFF2-40B4-BE49-F238E27FC236}">
                <a16:creationId xmlns:a16="http://schemas.microsoft.com/office/drawing/2014/main" id="{B4DCAA54-A920-4F7D-B1F9-E60E950DBAE8}"/>
              </a:ext>
              <a:ext uri="{C183D7F6-B498-43B3-948B-1728B52AA6E4}">
                <adec:decorative xmlns:adec="http://schemas.microsoft.com/office/drawing/2017/decorative" val="1"/>
              </a:ext>
            </a:extLst>
          </p:cNvPr>
          <p:cNvGrpSpPr/>
          <p:nvPr userDrawn="1"/>
        </p:nvGrpSpPr>
        <p:grpSpPr>
          <a:xfrm>
            <a:off x="0" y="681037"/>
            <a:ext cx="1170294" cy="709661"/>
            <a:chOff x="0" y="681037"/>
            <a:chExt cx="1170294" cy="709661"/>
          </a:xfrm>
        </p:grpSpPr>
        <p:sp>
          <p:nvSpPr>
            <p:cNvPr id="57" name="Freeform: Shape 56">
              <a:extLst>
                <a:ext uri="{FF2B5EF4-FFF2-40B4-BE49-F238E27FC236}">
                  <a16:creationId xmlns:a16="http://schemas.microsoft.com/office/drawing/2014/main" id="{28633F80-7150-4830-B036-FED561D8ABD2}"/>
                </a:ext>
                <a:ext uri="{C183D7F6-B498-43B3-948B-1728B52AA6E4}">
                  <adec:decorative xmlns:adec="http://schemas.microsoft.com/office/drawing/2017/decorative" val="1"/>
                </a:ext>
              </a:extLst>
            </p:cNvPr>
            <p:cNvSpPr/>
            <p:nvPr userDrawn="1"/>
          </p:nvSpPr>
          <p:spPr>
            <a:xfrm>
              <a:off x="0" y="681037"/>
              <a:ext cx="1170294" cy="274629"/>
            </a:xfrm>
            <a:custGeom>
              <a:avLst/>
              <a:gdLst>
                <a:gd name="connsiteX0" fmla="*/ 453342 w 1170294"/>
                <a:gd name="connsiteY0" fmla="*/ 0 h 274629"/>
                <a:gd name="connsiteX1" fmla="*/ 689085 w 1170294"/>
                <a:gd name="connsiteY1" fmla="*/ 235744 h 274629"/>
                <a:gd name="connsiteX2" fmla="*/ 924829 w 1170294"/>
                <a:gd name="connsiteY2" fmla="*/ 0 h 274629"/>
                <a:gd name="connsiteX3" fmla="*/ 1170294 w 1170294"/>
                <a:gd name="connsiteY3" fmla="*/ 245465 h 274629"/>
                <a:gd name="connsiteX4" fmla="*/ 1153282 w 1170294"/>
                <a:gd name="connsiteY4" fmla="*/ 264908 h 274629"/>
                <a:gd name="connsiteX5" fmla="*/ 924829 w 1170294"/>
                <a:gd name="connsiteY5" fmla="*/ 38885 h 274629"/>
                <a:gd name="connsiteX6" fmla="*/ 689085 w 1170294"/>
                <a:gd name="connsiteY6" fmla="*/ 274629 h 274629"/>
                <a:gd name="connsiteX7" fmla="*/ 453342 w 1170294"/>
                <a:gd name="connsiteY7" fmla="*/ 38885 h 274629"/>
                <a:gd name="connsiteX8" fmla="*/ 215168 w 1170294"/>
                <a:gd name="connsiteY8" fmla="*/ 274629 h 274629"/>
                <a:gd name="connsiteX9" fmla="*/ 0 w 1170294"/>
                <a:gd name="connsiteY9" fmla="*/ 59462 h 274629"/>
                <a:gd name="connsiteX10" fmla="*/ 0 w 1170294"/>
                <a:gd name="connsiteY10" fmla="*/ 20577 h 274629"/>
                <a:gd name="connsiteX11" fmla="*/ 215168 w 1170294"/>
                <a:gd name="connsiteY11" fmla="*/ 235744 h 27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0294" h="274629">
                  <a:moveTo>
                    <a:pt x="453342" y="0"/>
                  </a:moveTo>
                  <a:lnTo>
                    <a:pt x="689085" y="235744"/>
                  </a:lnTo>
                  <a:lnTo>
                    <a:pt x="924829" y="0"/>
                  </a:lnTo>
                  <a:lnTo>
                    <a:pt x="1170294" y="245465"/>
                  </a:lnTo>
                  <a:lnTo>
                    <a:pt x="1153282" y="264908"/>
                  </a:lnTo>
                  <a:lnTo>
                    <a:pt x="924829" y="38885"/>
                  </a:lnTo>
                  <a:lnTo>
                    <a:pt x="689085" y="274629"/>
                  </a:lnTo>
                  <a:lnTo>
                    <a:pt x="453342" y="38885"/>
                  </a:lnTo>
                  <a:lnTo>
                    <a:pt x="215168" y="274629"/>
                  </a:lnTo>
                  <a:lnTo>
                    <a:pt x="0" y="59462"/>
                  </a:lnTo>
                  <a:lnTo>
                    <a:pt x="0" y="20577"/>
                  </a:lnTo>
                  <a:lnTo>
                    <a:pt x="215168" y="235744"/>
                  </a:lnTo>
                  <a:close/>
                </a:path>
              </a:pathLst>
            </a:cu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58" name="Freeform: Shape 57">
              <a:extLst>
                <a:ext uri="{FF2B5EF4-FFF2-40B4-BE49-F238E27FC236}">
                  <a16:creationId xmlns:a16="http://schemas.microsoft.com/office/drawing/2014/main" id="{984D32A8-76C6-4D70-887B-EC3211AD33EB}"/>
                </a:ext>
                <a:ext uri="{C183D7F6-B498-43B3-948B-1728B52AA6E4}">
                  <adec:decorative xmlns:adec="http://schemas.microsoft.com/office/drawing/2017/decorative" val="1"/>
                </a:ext>
              </a:extLst>
            </p:cNvPr>
            <p:cNvSpPr/>
            <p:nvPr userDrawn="1"/>
          </p:nvSpPr>
          <p:spPr>
            <a:xfrm>
              <a:off x="0" y="1116069"/>
              <a:ext cx="1170294" cy="274629"/>
            </a:xfrm>
            <a:custGeom>
              <a:avLst/>
              <a:gdLst>
                <a:gd name="connsiteX0" fmla="*/ 453342 w 1170294"/>
                <a:gd name="connsiteY0" fmla="*/ 0 h 274629"/>
                <a:gd name="connsiteX1" fmla="*/ 689085 w 1170294"/>
                <a:gd name="connsiteY1" fmla="*/ 238174 h 274629"/>
                <a:gd name="connsiteX2" fmla="*/ 924829 w 1170294"/>
                <a:gd name="connsiteY2" fmla="*/ 0 h 274629"/>
                <a:gd name="connsiteX3" fmla="*/ 1170294 w 1170294"/>
                <a:gd name="connsiteY3" fmla="*/ 247895 h 274629"/>
                <a:gd name="connsiteX4" fmla="*/ 1153282 w 1170294"/>
                <a:gd name="connsiteY4" fmla="*/ 264908 h 274629"/>
                <a:gd name="connsiteX5" fmla="*/ 924829 w 1170294"/>
                <a:gd name="connsiteY5" fmla="*/ 38885 h 274629"/>
                <a:gd name="connsiteX6" fmla="*/ 689085 w 1170294"/>
                <a:gd name="connsiteY6" fmla="*/ 274629 h 274629"/>
                <a:gd name="connsiteX7" fmla="*/ 453342 w 1170294"/>
                <a:gd name="connsiteY7" fmla="*/ 38885 h 274629"/>
                <a:gd name="connsiteX8" fmla="*/ 215168 w 1170294"/>
                <a:gd name="connsiteY8" fmla="*/ 274629 h 274629"/>
                <a:gd name="connsiteX9" fmla="*/ 0 w 1170294"/>
                <a:gd name="connsiteY9" fmla="*/ 59462 h 274629"/>
                <a:gd name="connsiteX10" fmla="*/ 0 w 1170294"/>
                <a:gd name="connsiteY10" fmla="*/ 20789 h 274629"/>
                <a:gd name="connsiteX11" fmla="*/ 215168 w 1170294"/>
                <a:gd name="connsiteY11" fmla="*/ 238174 h 27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0294" h="274629">
                  <a:moveTo>
                    <a:pt x="453342" y="0"/>
                  </a:moveTo>
                  <a:lnTo>
                    <a:pt x="689085" y="238174"/>
                  </a:lnTo>
                  <a:lnTo>
                    <a:pt x="924829" y="0"/>
                  </a:lnTo>
                  <a:lnTo>
                    <a:pt x="1170294" y="247895"/>
                  </a:lnTo>
                  <a:lnTo>
                    <a:pt x="1153282" y="264908"/>
                  </a:lnTo>
                  <a:lnTo>
                    <a:pt x="924829" y="38885"/>
                  </a:lnTo>
                  <a:lnTo>
                    <a:pt x="689085" y="274629"/>
                  </a:lnTo>
                  <a:lnTo>
                    <a:pt x="453342" y="38885"/>
                  </a:lnTo>
                  <a:lnTo>
                    <a:pt x="215168" y="274629"/>
                  </a:lnTo>
                  <a:lnTo>
                    <a:pt x="0" y="59462"/>
                  </a:lnTo>
                  <a:lnTo>
                    <a:pt x="0" y="20789"/>
                  </a:lnTo>
                  <a:lnTo>
                    <a:pt x="215168" y="238174"/>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grpSp>
      <p:sp>
        <p:nvSpPr>
          <p:cNvPr id="59" name="Oval 58">
            <a:extLst>
              <a:ext uri="{FF2B5EF4-FFF2-40B4-BE49-F238E27FC236}">
                <a16:creationId xmlns:a16="http://schemas.microsoft.com/office/drawing/2014/main" id="{9C9F9430-37D6-4AED-B459-D6F6251D0C09}"/>
              </a:ext>
              <a:ext uri="{C183D7F6-B498-43B3-948B-1728B52AA6E4}">
                <adec:decorative xmlns:adec="http://schemas.microsoft.com/office/drawing/2017/decorative" val="1"/>
              </a:ext>
            </a:extLst>
          </p:cNvPr>
          <p:cNvSpPr/>
          <p:nvPr userDrawn="1"/>
        </p:nvSpPr>
        <p:spPr>
          <a:xfrm>
            <a:off x="11590389" y="4752208"/>
            <a:ext cx="365021" cy="365021"/>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60" name="Oval 59">
            <a:extLst>
              <a:ext uri="{FF2B5EF4-FFF2-40B4-BE49-F238E27FC236}">
                <a16:creationId xmlns:a16="http://schemas.microsoft.com/office/drawing/2014/main" id="{EEDFE717-6A4F-4FD1-ABBF-5807E71F53F6}"/>
              </a:ext>
              <a:ext uri="{C183D7F6-B498-43B3-948B-1728B52AA6E4}">
                <adec:decorative xmlns:adec="http://schemas.microsoft.com/office/drawing/2017/decorative" val="1"/>
              </a:ext>
            </a:extLst>
          </p:cNvPr>
          <p:cNvSpPr/>
          <p:nvPr userDrawn="1"/>
        </p:nvSpPr>
        <p:spPr>
          <a:xfrm>
            <a:off x="11559544" y="5991329"/>
            <a:ext cx="365021" cy="365021"/>
          </a:xfrm>
          <a:prstGeom prst="ellipse">
            <a:avLst/>
          </a:prstGeom>
          <a:solidFill>
            <a:schemeClr val="accent1">
              <a:alpha val="2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61" name="Date Placeholder 10">
            <a:extLst>
              <a:ext uri="{FF2B5EF4-FFF2-40B4-BE49-F238E27FC236}">
                <a16:creationId xmlns:a16="http://schemas.microsoft.com/office/drawing/2014/main" id="{26FBD0C2-9C38-4891-92F3-5AF6CD04E3E1}"/>
              </a:ext>
            </a:extLst>
          </p:cNvPr>
          <p:cNvSpPr>
            <a:spLocks noGrp="1"/>
          </p:cNvSpPr>
          <p:nvPr>
            <p:ph type="dt" sz="half" idx="10"/>
          </p:nvPr>
        </p:nvSpPr>
        <p:spPr>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a:ln>
                  <a:noFill/>
                </a:ln>
                <a:solidFill>
                  <a:prstClr val="black">
                    <a:tint val="75000"/>
                  </a:prstClr>
                </a:solidFill>
                <a:effectLst/>
                <a:uLnTx/>
                <a:uFillTx/>
                <a:latin typeface="Source Sans Pro"/>
                <a:cs typeface="+mn-cs"/>
              </a:rPr>
              <a:t>2/1/20XX</a:t>
            </a:r>
            <a:endParaRPr kumimoji="0" lang="en-US" sz="1200" b="1" i="0" u="none" strike="noStrike" kern="1200" cap="all" spc="100" normalizeH="0" baseline="0" noProof="0" dirty="0">
              <a:ln>
                <a:noFill/>
              </a:ln>
              <a:solidFill>
                <a:prstClr val="black">
                  <a:tint val="75000"/>
                </a:prstClr>
              </a:solidFill>
              <a:effectLst/>
              <a:uLnTx/>
              <a:uFillTx/>
              <a:latin typeface="Source Sans Pro"/>
              <a:cs typeface="+mn-cs"/>
            </a:endParaRPr>
          </a:p>
        </p:txBody>
      </p:sp>
      <p:sp>
        <p:nvSpPr>
          <p:cNvPr id="62" name="Footer Placeholder 11">
            <a:extLst>
              <a:ext uri="{FF2B5EF4-FFF2-40B4-BE49-F238E27FC236}">
                <a16:creationId xmlns:a16="http://schemas.microsoft.com/office/drawing/2014/main" id="{5C6A806B-2B18-4D3B-8215-624EE91DAC38}"/>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dirty="0">
                <a:ln>
                  <a:noFill/>
                </a:ln>
                <a:solidFill>
                  <a:prstClr val="black">
                    <a:tint val="75000"/>
                  </a:prstClr>
                </a:solidFill>
                <a:effectLst/>
                <a:uLnTx/>
                <a:uFillTx/>
                <a:latin typeface="Source Sans Pro"/>
                <a:cs typeface="+mn-cs"/>
              </a:rPr>
              <a:t>PRESENTATION TITLE</a:t>
            </a:r>
          </a:p>
        </p:txBody>
      </p:sp>
      <p:sp>
        <p:nvSpPr>
          <p:cNvPr id="63" name="Slide Number Placeholder 12">
            <a:extLst>
              <a:ext uri="{FF2B5EF4-FFF2-40B4-BE49-F238E27FC236}">
                <a16:creationId xmlns:a16="http://schemas.microsoft.com/office/drawing/2014/main" id="{54E3AE0A-2F47-4B51-8F32-46ABDC574FFB}"/>
              </a:ext>
            </a:extLst>
          </p:cNvPr>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67E29-1480-472A-9FC5-C4768A52587C}" type="slidenum">
              <a:rPr kumimoji="0" lang="en-US" sz="1200" b="1" i="0" u="none" strike="noStrike" kern="1200" cap="all" spc="100" normalizeH="0" baseline="0" noProof="0" smtClean="0">
                <a:ln>
                  <a:noFill/>
                </a:ln>
                <a:solidFill>
                  <a:prstClr val="black">
                    <a:tint val="75000"/>
                  </a:prstClr>
                </a:solidFill>
                <a:effectLst/>
                <a:uLnTx/>
                <a:uFillTx/>
                <a:latin typeface="Source Sans Pro"/>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all" spc="100" normalizeH="0" baseline="0" noProof="0" dirty="0">
              <a:ln>
                <a:noFill/>
              </a:ln>
              <a:solidFill>
                <a:prstClr val="black">
                  <a:tint val="75000"/>
                </a:prstClr>
              </a:solidFill>
              <a:effectLst/>
              <a:uLnTx/>
              <a:uFillTx/>
              <a:latin typeface="Source Sans Pro"/>
              <a:cs typeface="+mn-cs"/>
            </a:endParaRPr>
          </a:p>
        </p:txBody>
      </p:sp>
      <p:grpSp>
        <p:nvGrpSpPr>
          <p:cNvPr id="11" name="Graphic 4">
            <a:extLst>
              <a:ext uri="{FF2B5EF4-FFF2-40B4-BE49-F238E27FC236}">
                <a16:creationId xmlns:a16="http://schemas.microsoft.com/office/drawing/2014/main" id="{A160D36B-90B2-4E2E-9A07-AFC4CC77ED14}"/>
              </a:ext>
              <a:ext uri="{C183D7F6-B498-43B3-948B-1728B52AA6E4}">
                <adec:decorative xmlns:adec="http://schemas.microsoft.com/office/drawing/2017/decorative" val="1"/>
              </a:ext>
            </a:extLst>
          </p:cNvPr>
          <p:cNvGrpSpPr/>
          <p:nvPr userDrawn="1"/>
        </p:nvGrpSpPr>
        <p:grpSpPr>
          <a:xfrm>
            <a:off x="10510458" y="477557"/>
            <a:ext cx="975170" cy="975170"/>
            <a:chOff x="5829300" y="3162300"/>
            <a:chExt cx="532257" cy="532257"/>
          </a:xfrm>
          <a:solidFill>
            <a:schemeClr val="tx1"/>
          </a:solidFill>
        </p:grpSpPr>
        <p:sp>
          <p:nvSpPr>
            <p:cNvPr id="12" name="Freeform: Shape 11">
              <a:extLst>
                <a:ext uri="{FF2B5EF4-FFF2-40B4-BE49-F238E27FC236}">
                  <a16:creationId xmlns:a16="http://schemas.microsoft.com/office/drawing/2014/main" id="{CADA6DC8-A018-4A16-84AF-9E2E74CD757D}"/>
                </a:ext>
              </a:extLst>
            </p:cNvPr>
            <p:cNvSpPr/>
            <p:nvPr/>
          </p:nvSpPr>
          <p:spPr>
            <a:xfrm>
              <a:off x="5859208" y="3192208"/>
              <a:ext cx="112966" cy="112966"/>
            </a:xfrm>
            <a:custGeom>
              <a:avLst/>
              <a:gdLst>
                <a:gd name="connsiteX0" fmla="*/ 112967 w 112966"/>
                <a:gd name="connsiteY0" fmla="*/ 0 h 112966"/>
                <a:gd name="connsiteX1" fmla="*/ 0 w 112966"/>
                <a:gd name="connsiteY1" fmla="*/ 112967 h 112966"/>
                <a:gd name="connsiteX2" fmla="*/ 112967 w 112966"/>
                <a:gd name="connsiteY2" fmla="*/ 0 h 112966"/>
              </a:gdLst>
              <a:ahLst/>
              <a:cxnLst>
                <a:cxn ang="0">
                  <a:pos x="connsiteX0" y="connsiteY0"/>
                </a:cxn>
                <a:cxn ang="0">
                  <a:pos x="connsiteX1" y="connsiteY1"/>
                </a:cxn>
                <a:cxn ang="0">
                  <a:pos x="connsiteX2" y="connsiteY2"/>
                </a:cxn>
              </a:cxnLst>
              <a:rect l="l" t="t" r="r" b="b"/>
              <a:pathLst>
                <a:path w="112966" h="112966">
                  <a:moveTo>
                    <a:pt x="112967" y="0"/>
                  </a:moveTo>
                  <a:lnTo>
                    <a:pt x="0" y="112967"/>
                  </a:lnTo>
                  <a:cubicBezTo>
                    <a:pt x="25356" y="64747"/>
                    <a:pt x="64747" y="25356"/>
                    <a:pt x="112967"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3" name="Freeform: Shape 12">
              <a:extLst>
                <a:ext uri="{FF2B5EF4-FFF2-40B4-BE49-F238E27FC236}">
                  <a16:creationId xmlns:a16="http://schemas.microsoft.com/office/drawing/2014/main" id="{8C1308F7-B76A-4EC2-94B2-3D7A71B62604}"/>
                </a:ext>
              </a:extLst>
            </p:cNvPr>
            <p:cNvSpPr/>
            <p:nvPr/>
          </p:nvSpPr>
          <p:spPr>
            <a:xfrm>
              <a:off x="5831205" y="3164205"/>
              <a:ext cx="230314" cy="230314"/>
            </a:xfrm>
            <a:custGeom>
              <a:avLst/>
              <a:gdLst>
                <a:gd name="connsiteX0" fmla="*/ 230314 w 230314"/>
                <a:gd name="connsiteY0" fmla="*/ 0 h 230314"/>
                <a:gd name="connsiteX1" fmla="*/ 0 w 230314"/>
                <a:gd name="connsiteY1" fmla="*/ 230314 h 230314"/>
                <a:gd name="connsiteX2" fmla="*/ 3524 w 230314"/>
                <a:gd name="connsiteY2" fmla="*/ 209550 h 230314"/>
                <a:gd name="connsiteX3" fmla="*/ 209550 w 230314"/>
                <a:gd name="connsiteY3" fmla="*/ 3524 h 230314"/>
                <a:gd name="connsiteX4" fmla="*/ 230314 w 230314"/>
                <a:gd name="connsiteY4" fmla="*/ 0 h 23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14" h="230314">
                  <a:moveTo>
                    <a:pt x="230314" y="0"/>
                  </a:moveTo>
                  <a:lnTo>
                    <a:pt x="0" y="230314"/>
                  </a:lnTo>
                  <a:cubicBezTo>
                    <a:pt x="953" y="223361"/>
                    <a:pt x="2095" y="216408"/>
                    <a:pt x="3524" y="209550"/>
                  </a:cubicBezTo>
                  <a:lnTo>
                    <a:pt x="209550" y="3524"/>
                  </a:lnTo>
                  <a:cubicBezTo>
                    <a:pt x="216408" y="2095"/>
                    <a:pt x="223361" y="953"/>
                    <a:pt x="230314"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4" name="Freeform: Shape 13">
              <a:extLst>
                <a:ext uri="{FF2B5EF4-FFF2-40B4-BE49-F238E27FC236}">
                  <a16:creationId xmlns:a16="http://schemas.microsoft.com/office/drawing/2014/main" id="{98E3532C-7781-4159-A3A0-A2DE72CA6DBA}"/>
                </a:ext>
              </a:extLst>
            </p:cNvPr>
            <p:cNvSpPr/>
            <p:nvPr/>
          </p:nvSpPr>
          <p:spPr>
            <a:xfrm>
              <a:off x="5829300" y="3162300"/>
              <a:ext cx="294131" cy="294131"/>
            </a:xfrm>
            <a:custGeom>
              <a:avLst/>
              <a:gdLst>
                <a:gd name="connsiteX0" fmla="*/ 294132 w 294131"/>
                <a:gd name="connsiteY0" fmla="*/ 1238 h 294131"/>
                <a:gd name="connsiteX1" fmla="*/ 1238 w 294131"/>
                <a:gd name="connsiteY1" fmla="*/ 294132 h 294131"/>
                <a:gd name="connsiteX2" fmla="*/ 0 w 294131"/>
                <a:gd name="connsiteY2" fmla="*/ 278225 h 294131"/>
                <a:gd name="connsiteX3" fmla="*/ 278225 w 294131"/>
                <a:gd name="connsiteY3" fmla="*/ 0 h 294131"/>
                <a:gd name="connsiteX4" fmla="*/ 294132 w 294131"/>
                <a:gd name="connsiteY4" fmla="*/ 1238 h 294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131" h="294131">
                  <a:moveTo>
                    <a:pt x="294132" y="1238"/>
                  </a:moveTo>
                  <a:lnTo>
                    <a:pt x="1238" y="294132"/>
                  </a:lnTo>
                  <a:cubicBezTo>
                    <a:pt x="667" y="288893"/>
                    <a:pt x="0" y="283559"/>
                    <a:pt x="0" y="278225"/>
                  </a:cubicBezTo>
                  <a:lnTo>
                    <a:pt x="278225" y="0"/>
                  </a:lnTo>
                  <a:cubicBezTo>
                    <a:pt x="283559" y="0"/>
                    <a:pt x="288893" y="667"/>
                    <a:pt x="294132" y="12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5" name="Freeform: Shape 14">
              <a:extLst>
                <a:ext uri="{FF2B5EF4-FFF2-40B4-BE49-F238E27FC236}">
                  <a16:creationId xmlns:a16="http://schemas.microsoft.com/office/drawing/2014/main" id="{98D647FB-029D-4D71-B4E4-6D74FCB09C4D}"/>
                </a:ext>
              </a:extLst>
            </p:cNvPr>
            <p:cNvSpPr/>
            <p:nvPr/>
          </p:nvSpPr>
          <p:spPr>
            <a:xfrm>
              <a:off x="5837205" y="3170110"/>
              <a:ext cx="337184" cy="337280"/>
            </a:xfrm>
            <a:custGeom>
              <a:avLst/>
              <a:gdLst>
                <a:gd name="connsiteX0" fmla="*/ 337185 w 337184"/>
                <a:gd name="connsiteY0" fmla="*/ 3905 h 337280"/>
                <a:gd name="connsiteX1" fmla="*/ 3810 w 337184"/>
                <a:gd name="connsiteY1" fmla="*/ 337280 h 337280"/>
                <a:gd name="connsiteX2" fmla="*/ 0 w 337184"/>
                <a:gd name="connsiteY2" fmla="*/ 323850 h 337280"/>
                <a:gd name="connsiteX3" fmla="*/ 323850 w 337184"/>
                <a:gd name="connsiteY3" fmla="*/ 0 h 337280"/>
                <a:gd name="connsiteX4" fmla="*/ 337185 w 337184"/>
                <a:gd name="connsiteY4" fmla="*/ 3905 h 33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184" h="337280">
                  <a:moveTo>
                    <a:pt x="337185" y="3905"/>
                  </a:moveTo>
                  <a:lnTo>
                    <a:pt x="3810" y="337280"/>
                  </a:lnTo>
                  <a:cubicBezTo>
                    <a:pt x="2381" y="332899"/>
                    <a:pt x="1143" y="328422"/>
                    <a:pt x="0" y="323850"/>
                  </a:cubicBezTo>
                  <a:lnTo>
                    <a:pt x="323850" y="0"/>
                  </a:lnTo>
                  <a:cubicBezTo>
                    <a:pt x="328327" y="1715"/>
                    <a:pt x="332804" y="2477"/>
                    <a:pt x="337185" y="390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 name="Freeform: Shape 15">
              <a:extLst>
                <a:ext uri="{FF2B5EF4-FFF2-40B4-BE49-F238E27FC236}">
                  <a16:creationId xmlns:a16="http://schemas.microsoft.com/office/drawing/2014/main" id="{216A1C6D-37E7-47A0-814C-A09DC1123684}"/>
                </a:ext>
              </a:extLst>
            </p:cNvPr>
            <p:cNvSpPr/>
            <p:nvPr/>
          </p:nvSpPr>
          <p:spPr>
            <a:xfrm>
              <a:off x="5853207" y="3186207"/>
              <a:ext cx="364617" cy="364617"/>
            </a:xfrm>
            <a:custGeom>
              <a:avLst/>
              <a:gdLst>
                <a:gd name="connsiteX0" fmla="*/ 364617 w 364617"/>
                <a:gd name="connsiteY0" fmla="*/ 5620 h 364617"/>
                <a:gd name="connsiteX1" fmla="*/ 5620 w 364617"/>
                <a:gd name="connsiteY1" fmla="*/ 364617 h 364617"/>
                <a:gd name="connsiteX2" fmla="*/ 0 w 364617"/>
                <a:gd name="connsiteY2" fmla="*/ 353187 h 364617"/>
                <a:gd name="connsiteX3" fmla="*/ 353187 w 364617"/>
                <a:gd name="connsiteY3" fmla="*/ 0 h 364617"/>
                <a:gd name="connsiteX4" fmla="*/ 364617 w 364617"/>
                <a:gd name="connsiteY4" fmla="*/ 5620 h 364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7" h="364617">
                  <a:moveTo>
                    <a:pt x="364617" y="5620"/>
                  </a:moveTo>
                  <a:lnTo>
                    <a:pt x="5620" y="364617"/>
                  </a:lnTo>
                  <a:cubicBezTo>
                    <a:pt x="3620" y="360902"/>
                    <a:pt x="1715" y="357092"/>
                    <a:pt x="0" y="353187"/>
                  </a:cubicBezTo>
                  <a:lnTo>
                    <a:pt x="353187" y="0"/>
                  </a:lnTo>
                  <a:cubicBezTo>
                    <a:pt x="357092" y="1715"/>
                    <a:pt x="360902" y="3715"/>
                    <a:pt x="364617" y="562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 name="Freeform: Shape 16">
              <a:extLst>
                <a:ext uri="{FF2B5EF4-FFF2-40B4-BE49-F238E27FC236}">
                  <a16:creationId xmlns:a16="http://schemas.microsoft.com/office/drawing/2014/main" id="{22759DEC-2103-4E2C-A470-F4AF6E5E3E87}"/>
                </a:ext>
              </a:extLst>
            </p:cNvPr>
            <p:cNvSpPr/>
            <p:nvPr/>
          </p:nvSpPr>
          <p:spPr>
            <a:xfrm>
              <a:off x="5875305" y="3208305"/>
              <a:ext cx="380238" cy="380238"/>
            </a:xfrm>
            <a:custGeom>
              <a:avLst/>
              <a:gdLst>
                <a:gd name="connsiteX0" fmla="*/ 380238 w 380238"/>
                <a:gd name="connsiteY0" fmla="*/ 7239 h 380238"/>
                <a:gd name="connsiteX1" fmla="*/ 7239 w 380238"/>
                <a:gd name="connsiteY1" fmla="*/ 380238 h 380238"/>
                <a:gd name="connsiteX2" fmla="*/ 0 w 380238"/>
                <a:gd name="connsiteY2" fmla="*/ 370713 h 380238"/>
                <a:gd name="connsiteX3" fmla="*/ 370237 w 380238"/>
                <a:gd name="connsiteY3" fmla="*/ 0 h 380238"/>
                <a:gd name="connsiteX4" fmla="*/ 380238 w 380238"/>
                <a:gd name="connsiteY4" fmla="*/ 7239 h 38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238" h="380238">
                  <a:moveTo>
                    <a:pt x="380238" y="7239"/>
                  </a:moveTo>
                  <a:lnTo>
                    <a:pt x="7239" y="380238"/>
                  </a:lnTo>
                  <a:cubicBezTo>
                    <a:pt x="4763" y="377000"/>
                    <a:pt x="2381" y="373571"/>
                    <a:pt x="0" y="370713"/>
                  </a:cubicBezTo>
                  <a:lnTo>
                    <a:pt x="370237" y="0"/>
                  </a:lnTo>
                  <a:cubicBezTo>
                    <a:pt x="373571" y="2381"/>
                    <a:pt x="377000" y="4763"/>
                    <a:pt x="380238" y="723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8" name="Freeform: Shape 17">
              <a:extLst>
                <a:ext uri="{FF2B5EF4-FFF2-40B4-BE49-F238E27FC236}">
                  <a16:creationId xmlns:a16="http://schemas.microsoft.com/office/drawing/2014/main" id="{788AE222-CCAD-4233-9F97-67021E530758}"/>
                </a:ext>
              </a:extLst>
            </p:cNvPr>
            <p:cNvSpPr/>
            <p:nvPr/>
          </p:nvSpPr>
          <p:spPr>
            <a:xfrm>
              <a:off x="5902832" y="3235832"/>
              <a:ext cx="385191" cy="385191"/>
            </a:xfrm>
            <a:custGeom>
              <a:avLst/>
              <a:gdLst>
                <a:gd name="connsiteX0" fmla="*/ 380905 w 385191"/>
                <a:gd name="connsiteY0" fmla="*/ 4286 h 385191"/>
                <a:gd name="connsiteX1" fmla="*/ 385191 w 385191"/>
                <a:gd name="connsiteY1" fmla="*/ 8573 h 385191"/>
                <a:gd name="connsiteX2" fmla="*/ 8573 w 385191"/>
                <a:gd name="connsiteY2" fmla="*/ 385191 h 385191"/>
                <a:gd name="connsiteX3" fmla="*/ 4286 w 385191"/>
                <a:gd name="connsiteY3" fmla="*/ 380905 h 385191"/>
                <a:gd name="connsiteX4" fmla="*/ 0 w 385191"/>
                <a:gd name="connsiteY4" fmla="*/ 376523 h 385191"/>
                <a:gd name="connsiteX5" fmla="*/ 376523 w 385191"/>
                <a:gd name="connsiteY5" fmla="*/ 0 h 385191"/>
                <a:gd name="connsiteX6" fmla="*/ 380905 w 385191"/>
                <a:gd name="connsiteY6" fmla="*/ 4286 h 38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191" h="385191">
                  <a:moveTo>
                    <a:pt x="380905" y="4286"/>
                  </a:moveTo>
                  <a:lnTo>
                    <a:pt x="385191" y="8573"/>
                  </a:lnTo>
                  <a:lnTo>
                    <a:pt x="8573" y="385191"/>
                  </a:lnTo>
                  <a:lnTo>
                    <a:pt x="4286" y="380905"/>
                  </a:lnTo>
                  <a:cubicBezTo>
                    <a:pt x="2762" y="379476"/>
                    <a:pt x="1334" y="377952"/>
                    <a:pt x="0" y="376523"/>
                  </a:cubicBezTo>
                  <a:lnTo>
                    <a:pt x="376523" y="0"/>
                  </a:lnTo>
                  <a:cubicBezTo>
                    <a:pt x="377952" y="1334"/>
                    <a:pt x="379476" y="2667"/>
                    <a:pt x="380905" y="42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9" name="Freeform: Shape 18">
              <a:extLst>
                <a:ext uri="{FF2B5EF4-FFF2-40B4-BE49-F238E27FC236}">
                  <a16:creationId xmlns:a16="http://schemas.microsoft.com/office/drawing/2014/main" id="{8610EC41-7752-4C40-99E0-1B5FEA90EB0E}"/>
                </a:ext>
              </a:extLst>
            </p:cNvPr>
            <p:cNvSpPr/>
            <p:nvPr/>
          </p:nvSpPr>
          <p:spPr>
            <a:xfrm>
              <a:off x="5935789" y="3268313"/>
              <a:ext cx="379761" cy="380237"/>
            </a:xfrm>
            <a:custGeom>
              <a:avLst/>
              <a:gdLst>
                <a:gd name="connsiteX0" fmla="*/ 372428 w 379761"/>
                <a:gd name="connsiteY0" fmla="*/ 0 h 380237"/>
                <a:gd name="connsiteX1" fmla="*/ 379762 w 379761"/>
                <a:gd name="connsiteY1" fmla="*/ 9525 h 380237"/>
                <a:gd name="connsiteX2" fmla="*/ 9525 w 379761"/>
                <a:gd name="connsiteY2" fmla="*/ 380238 h 380237"/>
                <a:gd name="connsiteX3" fmla="*/ 0 w 379761"/>
                <a:gd name="connsiteY3" fmla="*/ 372904 h 380237"/>
              </a:gdLst>
              <a:ahLst/>
              <a:cxnLst>
                <a:cxn ang="0">
                  <a:pos x="connsiteX0" y="connsiteY0"/>
                </a:cxn>
                <a:cxn ang="0">
                  <a:pos x="connsiteX1" y="connsiteY1"/>
                </a:cxn>
                <a:cxn ang="0">
                  <a:pos x="connsiteX2" y="connsiteY2"/>
                </a:cxn>
                <a:cxn ang="0">
                  <a:pos x="connsiteX3" y="connsiteY3"/>
                </a:cxn>
              </a:cxnLst>
              <a:rect l="l" t="t" r="r" b="b"/>
              <a:pathLst>
                <a:path w="379761" h="380237">
                  <a:moveTo>
                    <a:pt x="372428" y="0"/>
                  </a:moveTo>
                  <a:cubicBezTo>
                    <a:pt x="374999" y="3239"/>
                    <a:pt x="377381" y="6572"/>
                    <a:pt x="379762" y="9525"/>
                  </a:cubicBezTo>
                  <a:lnTo>
                    <a:pt x="9525" y="380238"/>
                  </a:lnTo>
                  <a:cubicBezTo>
                    <a:pt x="6096" y="377857"/>
                    <a:pt x="2762" y="375476"/>
                    <a:pt x="0" y="37290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0" name="Freeform: Shape 19">
              <a:extLst>
                <a:ext uri="{FF2B5EF4-FFF2-40B4-BE49-F238E27FC236}">
                  <a16:creationId xmlns:a16="http://schemas.microsoft.com/office/drawing/2014/main" id="{5AA370E4-6378-438E-96A5-93A548F17E99}"/>
                </a:ext>
              </a:extLst>
            </p:cNvPr>
            <p:cNvSpPr/>
            <p:nvPr/>
          </p:nvSpPr>
          <p:spPr>
            <a:xfrm>
              <a:off x="5972841" y="3305841"/>
              <a:ext cx="364807" cy="364807"/>
            </a:xfrm>
            <a:custGeom>
              <a:avLst/>
              <a:gdLst>
                <a:gd name="connsiteX0" fmla="*/ 359188 w 364807"/>
                <a:gd name="connsiteY0" fmla="*/ 0 h 364807"/>
                <a:gd name="connsiteX1" fmla="*/ 364808 w 364807"/>
                <a:gd name="connsiteY1" fmla="*/ 11621 h 364807"/>
                <a:gd name="connsiteX2" fmla="*/ 11621 w 364807"/>
                <a:gd name="connsiteY2" fmla="*/ 364808 h 364807"/>
                <a:gd name="connsiteX3" fmla="*/ 0 w 364807"/>
                <a:gd name="connsiteY3" fmla="*/ 359188 h 364807"/>
              </a:gdLst>
              <a:ahLst/>
              <a:cxnLst>
                <a:cxn ang="0">
                  <a:pos x="connsiteX0" y="connsiteY0"/>
                </a:cxn>
                <a:cxn ang="0">
                  <a:pos x="connsiteX1" y="connsiteY1"/>
                </a:cxn>
                <a:cxn ang="0">
                  <a:pos x="connsiteX2" y="connsiteY2"/>
                </a:cxn>
                <a:cxn ang="0">
                  <a:pos x="connsiteX3" y="connsiteY3"/>
                </a:cxn>
              </a:cxnLst>
              <a:rect l="l" t="t" r="r" b="b"/>
              <a:pathLst>
                <a:path w="364807" h="364807">
                  <a:moveTo>
                    <a:pt x="359188" y="0"/>
                  </a:moveTo>
                  <a:cubicBezTo>
                    <a:pt x="361188" y="3905"/>
                    <a:pt x="362998" y="7715"/>
                    <a:pt x="364808" y="11621"/>
                  </a:cubicBezTo>
                  <a:lnTo>
                    <a:pt x="11621" y="364808"/>
                  </a:lnTo>
                  <a:cubicBezTo>
                    <a:pt x="7715" y="362998"/>
                    <a:pt x="3905" y="361188"/>
                    <a:pt x="0" y="35918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 name="Freeform: Shape 20">
              <a:extLst>
                <a:ext uri="{FF2B5EF4-FFF2-40B4-BE49-F238E27FC236}">
                  <a16:creationId xmlns:a16="http://schemas.microsoft.com/office/drawing/2014/main" id="{2DC8BEFB-4BE0-44E4-B9EE-B9433675ED5D}"/>
                </a:ext>
              </a:extLst>
            </p:cNvPr>
            <p:cNvSpPr/>
            <p:nvPr/>
          </p:nvSpPr>
          <p:spPr>
            <a:xfrm>
              <a:off x="6016370" y="3349466"/>
              <a:ext cx="337280" cy="337280"/>
            </a:xfrm>
            <a:custGeom>
              <a:avLst/>
              <a:gdLst>
                <a:gd name="connsiteX0" fmla="*/ 333470 w 337280"/>
                <a:gd name="connsiteY0" fmla="*/ 0 h 337280"/>
                <a:gd name="connsiteX1" fmla="*/ 337280 w 337280"/>
                <a:gd name="connsiteY1" fmla="*/ 13430 h 337280"/>
                <a:gd name="connsiteX2" fmla="*/ 13430 w 337280"/>
                <a:gd name="connsiteY2" fmla="*/ 337280 h 337280"/>
                <a:gd name="connsiteX3" fmla="*/ 0 w 337280"/>
                <a:gd name="connsiteY3" fmla="*/ 333470 h 337280"/>
              </a:gdLst>
              <a:ahLst/>
              <a:cxnLst>
                <a:cxn ang="0">
                  <a:pos x="connsiteX0" y="connsiteY0"/>
                </a:cxn>
                <a:cxn ang="0">
                  <a:pos x="connsiteX1" y="connsiteY1"/>
                </a:cxn>
                <a:cxn ang="0">
                  <a:pos x="connsiteX2" y="connsiteY2"/>
                </a:cxn>
                <a:cxn ang="0">
                  <a:pos x="connsiteX3" y="connsiteY3"/>
                </a:cxn>
              </a:cxnLst>
              <a:rect l="l" t="t" r="r" b="b"/>
              <a:pathLst>
                <a:path w="337280" h="337280">
                  <a:moveTo>
                    <a:pt x="333470" y="0"/>
                  </a:moveTo>
                  <a:cubicBezTo>
                    <a:pt x="334899" y="4382"/>
                    <a:pt x="336137" y="8858"/>
                    <a:pt x="337280" y="13430"/>
                  </a:cubicBezTo>
                  <a:lnTo>
                    <a:pt x="13430" y="337280"/>
                  </a:lnTo>
                  <a:cubicBezTo>
                    <a:pt x="8858" y="336137"/>
                    <a:pt x="4382" y="334899"/>
                    <a:pt x="0" y="3334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2" name="Freeform: Shape 21">
              <a:extLst>
                <a:ext uri="{FF2B5EF4-FFF2-40B4-BE49-F238E27FC236}">
                  <a16:creationId xmlns:a16="http://schemas.microsoft.com/office/drawing/2014/main" id="{C5C187D8-7DEF-4A4B-AEBD-0148B131FA7B}"/>
                </a:ext>
              </a:extLst>
            </p:cNvPr>
            <p:cNvSpPr/>
            <p:nvPr/>
          </p:nvSpPr>
          <p:spPr>
            <a:xfrm>
              <a:off x="6067329" y="3400425"/>
              <a:ext cx="294227" cy="294132"/>
            </a:xfrm>
            <a:custGeom>
              <a:avLst/>
              <a:gdLst>
                <a:gd name="connsiteX0" fmla="*/ 292989 w 294227"/>
                <a:gd name="connsiteY0" fmla="*/ 0 h 294132"/>
                <a:gd name="connsiteX1" fmla="*/ 294227 w 294227"/>
                <a:gd name="connsiteY1" fmla="*/ 15907 h 294132"/>
                <a:gd name="connsiteX2" fmla="*/ 15907 w 294227"/>
                <a:gd name="connsiteY2" fmla="*/ 294132 h 294132"/>
                <a:gd name="connsiteX3" fmla="*/ 0 w 294227"/>
                <a:gd name="connsiteY3" fmla="*/ 292894 h 294132"/>
              </a:gdLst>
              <a:ahLst/>
              <a:cxnLst>
                <a:cxn ang="0">
                  <a:pos x="connsiteX0" y="connsiteY0"/>
                </a:cxn>
                <a:cxn ang="0">
                  <a:pos x="connsiteX1" y="connsiteY1"/>
                </a:cxn>
                <a:cxn ang="0">
                  <a:pos x="connsiteX2" y="connsiteY2"/>
                </a:cxn>
                <a:cxn ang="0">
                  <a:pos x="connsiteX3" y="connsiteY3"/>
                </a:cxn>
              </a:cxnLst>
              <a:rect l="l" t="t" r="r" b="b"/>
              <a:pathLst>
                <a:path w="294227" h="294132">
                  <a:moveTo>
                    <a:pt x="292989" y="0"/>
                  </a:moveTo>
                  <a:cubicBezTo>
                    <a:pt x="293561" y="5334"/>
                    <a:pt x="293942" y="10668"/>
                    <a:pt x="294227" y="15907"/>
                  </a:cubicBezTo>
                  <a:lnTo>
                    <a:pt x="15907" y="294132"/>
                  </a:lnTo>
                  <a:cubicBezTo>
                    <a:pt x="10668" y="294132"/>
                    <a:pt x="5334" y="293465"/>
                    <a:pt x="0" y="29289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3" name="Freeform: Shape 22">
              <a:extLst>
                <a:ext uri="{FF2B5EF4-FFF2-40B4-BE49-F238E27FC236}">
                  <a16:creationId xmlns:a16="http://schemas.microsoft.com/office/drawing/2014/main" id="{721C4DD4-9A7B-4D13-905C-4D8287BFC226}"/>
                </a:ext>
              </a:extLst>
            </p:cNvPr>
            <p:cNvSpPr/>
            <p:nvPr/>
          </p:nvSpPr>
          <p:spPr>
            <a:xfrm>
              <a:off x="6129337" y="3462337"/>
              <a:ext cx="230314" cy="230314"/>
            </a:xfrm>
            <a:custGeom>
              <a:avLst/>
              <a:gdLst>
                <a:gd name="connsiteX0" fmla="*/ 230315 w 230314"/>
                <a:gd name="connsiteY0" fmla="*/ 0 h 230314"/>
                <a:gd name="connsiteX1" fmla="*/ 226886 w 230314"/>
                <a:gd name="connsiteY1" fmla="*/ 20574 h 230314"/>
                <a:gd name="connsiteX2" fmla="*/ 20669 w 230314"/>
                <a:gd name="connsiteY2" fmla="*/ 226790 h 230314"/>
                <a:gd name="connsiteX3" fmla="*/ 0 w 230314"/>
                <a:gd name="connsiteY3" fmla="*/ 230315 h 230314"/>
              </a:gdLst>
              <a:ahLst/>
              <a:cxnLst>
                <a:cxn ang="0">
                  <a:pos x="connsiteX0" y="connsiteY0"/>
                </a:cxn>
                <a:cxn ang="0">
                  <a:pos x="connsiteX1" y="connsiteY1"/>
                </a:cxn>
                <a:cxn ang="0">
                  <a:pos x="connsiteX2" y="connsiteY2"/>
                </a:cxn>
                <a:cxn ang="0">
                  <a:pos x="connsiteX3" y="connsiteY3"/>
                </a:cxn>
              </a:cxnLst>
              <a:rect l="l" t="t" r="r" b="b"/>
              <a:pathLst>
                <a:path w="230314" h="230314">
                  <a:moveTo>
                    <a:pt x="230315" y="0"/>
                  </a:moveTo>
                  <a:cubicBezTo>
                    <a:pt x="229457" y="6953"/>
                    <a:pt x="228314" y="13716"/>
                    <a:pt x="226886" y="20574"/>
                  </a:cubicBezTo>
                  <a:lnTo>
                    <a:pt x="20669" y="226790"/>
                  </a:lnTo>
                  <a:cubicBezTo>
                    <a:pt x="13811" y="228314"/>
                    <a:pt x="6953" y="229457"/>
                    <a:pt x="0" y="23031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4" name="Freeform: Shape 23">
              <a:extLst>
                <a:ext uri="{FF2B5EF4-FFF2-40B4-BE49-F238E27FC236}">
                  <a16:creationId xmlns:a16="http://schemas.microsoft.com/office/drawing/2014/main" id="{CB37570A-3C94-4E36-97CE-A23E9672578E}"/>
                </a:ext>
              </a:extLst>
            </p:cNvPr>
            <p:cNvSpPr/>
            <p:nvPr/>
          </p:nvSpPr>
          <p:spPr>
            <a:xfrm>
              <a:off x="6218682" y="3551682"/>
              <a:ext cx="112871" cy="112871"/>
            </a:xfrm>
            <a:custGeom>
              <a:avLst/>
              <a:gdLst>
                <a:gd name="connsiteX0" fmla="*/ 112871 w 112871"/>
                <a:gd name="connsiteY0" fmla="*/ 0 h 112871"/>
                <a:gd name="connsiteX1" fmla="*/ 0 w 112871"/>
                <a:gd name="connsiteY1" fmla="*/ 112871 h 112871"/>
              </a:gdLst>
              <a:ahLst/>
              <a:cxnLst>
                <a:cxn ang="0">
                  <a:pos x="connsiteX0" y="connsiteY0"/>
                </a:cxn>
                <a:cxn ang="0">
                  <a:pos x="connsiteX1" y="connsiteY1"/>
                </a:cxn>
              </a:cxnLst>
              <a:rect l="l" t="t" r="r" b="b"/>
              <a:pathLst>
                <a:path w="112871" h="112871">
                  <a:moveTo>
                    <a:pt x="112871" y="0"/>
                  </a:moveTo>
                  <a:cubicBezTo>
                    <a:pt x="87618" y="48239"/>
                    <a:pt x="48239" y="87618"/>
                    <a:pt x="0" y="1128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grpSp>
    </p:spTree>
    <p:extLst>
      <p:ext uri="{BB962C8B-B14F-4D97-AF65-F5344CB8AC3E}">
        <p14:creationId xmlns:p14="http://schemas.microsoft.com/office/powerpoint/2010/main" val="42009818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grpSp>
        <p:nvGrpSpPr>
          <p:cNvPr id="34" name="Graphic 4">
            <a:extLst>
              <a:ext uri="{FF2B5EF4-FFF2-40B4-BE49-F238E27FC236}">
                <a16:creationId xmlns:a16="http://schemas.microsoft.com/office/drawing/2014/main" id="{F6919F4A-127D-4827-9E80-D8662425CC16}"/>
              </a:ext>
              <a:ext uri="{C183D7F6-B498-43B3-948B-1728B52AA6E4}">
                <adec:decorative xmlns:adec="http://schemas.microsoft.com/office/drawing/2017/decorative" val="1"/>
              </a:ext>
            </a:extLst>
          </p:cNvPr>
          <p:cNvGrpSpPr/>
          <p:nvPr userDrawn="1"/>
        </p:nvGrpSpPr>
        <p:grpSpPr>
          <a:xfrm>
            <a:off x="10510458" y="477557"/>
            <a:ext cx="975170" cy="975170"/>
            <a:chOff x="5829300" y="3162300"/>
            <a:chExt cx="532257" cy="532257"/>
          </a:xfrm>
          <a:solidFill>
            <a:schemeClr val="tx1"/>
          </a:solidFill>
        </p:grpSpPr>
        <p:sp>
          <p:nvSpPr>
            <p:cNvPr id="35" name="Freeform: Shape 34">
              <a:extLst>
                <a:ext uri="{FF2B5EF4-FFF2-40B4-BE49-F238E27FC236}">
                  <a16:creationId xmlns:a16="http://schemas.microsoft.com/office/drawing/2014/main" id="{E4F0C362-E345-4C93-8DBC-55525E213FE2}"/>
                </a:ext>
              </a:extLst>
            </p:cNvPr>
            <p:cNvSpPr/>
            <p:nvPr/>
          </p:nvSpPr>
          <p:spPr>
            <a:xfrm>
              <a:off x="5859208" y="3192208"/>
              <a:ext cx="112966" cy="112966"/>
            </a:xfrm>
            <a:custGeom>
              <a:avLst/>
              <a:gdLst>
                <a:gd name="connsiteX0" fmla="*/ 112967 w 112966"/>
                <a:gd name="connsiteY0" fmla="*/ 0 h 112966"/>
                <a:gd name="connsiteX1" fmla="*/ 0 w 112966"/>
                <a:gd name="connsiteY1" fmla="*/ 112967 h 112966"/>
                <a:gd name="connsiteX2" fmla="*/ 112967 w 112966"/>
                <a:gd name="connsiteY2" fmla="*/ 0 h 112966"/>
              </a:gdLst>
              <a:ahLst/>
              <a:cxnLst>
                <a:cxn ang="0">
                  <a:pos x="connsiteX0" y="connsiteY0"/>
                </a:cxn>
                <a:cxn ang="0">
                  <a:pos x="connsiteX1" y="connsiteY1"/>
                </a:cxn>
                <a:cxn ang="0">
                  <a:pos x="connsiteX2" y="connsiteY2"/>
                </a:cxn>
              </a:cxnLst>
              <a:rect l="l" t="t" r="r" b="b"/>
              <a:pathLst>
                <a:path w="112966" h="112966">
                  <a:moveTo>
                    <a:pt x="112967" y="0"/>
                  </a:moveTo>
                  <a:lnTo>
                    <a:pt x="0" y="112967"/>
                  </a:lnTo>
                  <a:cubicBezTo>
                    <a:pt x="25356" y="64747"/>
                    <a:pt x="64747" y="25356"/>
                    <a:pt x="112967"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6" name="Freeform: Shape 35">
              <a:extLst>
                <a:ext uri="{FF2B5EF4-FFF2-40B4-BE49-F238E27FC236}">
                  <a16:creationId xmlns:a16="http://schemas.microsoft.com/office/drawing/2014/main" id="{246589FF-4A9D-484E-95B0-A0C39A326BFF}"/>
                </a:ext>
              </a:extLst>
            </p:cNvPr>
            <p:cNvSpPr/>
            <p:nvPr/>
          </p:nvSpPr>
          <p:spPr>
            <a:xfrm>
              <a:off x="5831205" y="3164205"/>
              <a:ext cx="230314" cy="230314"/>
            </a:xfrm>
            <a:custGeom>
              <a:avLst/>
              <a:gdLst>
                <a:gd name="connsiteX0" fmla="*/ 230314 w 230314"/>
                <a:gd name="connsiteY0" fmla="*/ 0 h 230314"/>
                <a:gd name="connsiteX1" fmla="*/ 0 w 230314"/>
                <a:gd name="connsiteY1" fmla="*/ 230314 h 230314"/>
                <a:gd name="connsiteX2" fmla="*/ 3524 w 230314"/>
                <a:gd name="connsiteY2" fmla="*/ 209550 h 230314"/>
                <a:gd name="connsiteX3" fmla="*/ 209550 w 230314"/>
                <a:gd name="connsiteY3" fmla="*/ 3524 h 230314"/>
                <a:gd name="connsiteX4" fmla="*/ 230314 w 230314"/>
                <a:gd name="connsiteY4" fmla="*/ 0 h 23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14" h="230314">
                  <a:moveTo>
                    <a:pt x="230314" y="0"/>
                  </a:moveTo>
                  <a:lnTo>
                    <a:pt x="0" y="230314"/>
                  </a:lnTo>
                  <a:cubicBezTo>
                    <a:pt x="953" y="223361"/>
                    <a:pt x="2095" y="216408"/>
                    <a:pt x="3524" y="209550"/>
                  </a:cubicBezTo>
                  <a:lnTo>
                    <a:pt x="209550" y="3524"/>
                  </a:lnTo>
                  <a:cubicBezTo>
                    <a:pt x="216408" y="2095"/>
                    <a:pt x="223361" y="953"/>
                    <a:pt x="230314"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7" name="Freeform: Shape 36">
              <a:extLst>
                <a:ext uri="{FF2B5EF4-FFF2-40B4-BE49-F238E27FC236}">
                  <a16:creationId xmlns:a16="http://schemas.microsoft.com/office/drawing/2014/main" id="{CCC09BAE-0430-4149-BDEC-23DD9C37ACC2}"/>
                </a:ext>
              </a:extLst>
            </p:cNvPr>
            <p:cNvSpPr/>
            <p:nvPr/>
          </p:nvSpPr>
          <p:spPr>
            <a:xfrm>
              <a:off x="5829300" y="3162300"/>
              <a:ext cx="294131" cy="294131"/>
            </a:xfrm>
            <a:custGeom>
              <a:avLst/>
              <a:gdLst>
                <a:gd name="connsiteX0" fmla="*/ 294132 w 294131"/>
                <a:gd name="connsiteY0" fmla="*/ 1238 h 294131"/>
                <a:gd name="connsiteX1" fmla="*/ 1238 w 294131"/>
                <a:gd name="connsiteY1" fmla="*/ 294132 h 294131"/>
                <a:gd name="connsiteX2" fmla="*/ 0 w 294131"/>
                <a:gd name="connsiteY2" fmla="*/ 278225 h 294131"/>
                <a:gd name="connsiteX3" fmla="*/ 278225 w 294131"/>
                <a:gd name="connsiteY3" fmla="*/ 0 h 294131"/>
                <a:gd name="connsiteX4" fmla="*/ 294132 w 294131"/>
                <a:gd name="connsiteY4" fmla="*/ 1238 h 294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131" h="294131">
                  <a:moveTo>
                    <a:pt x="294132" y="1238"/>
                  </a:moveTo>
                  <a:lnTo>
                    <a:pt x="1238" y="294132"/>
                  </a:lnTo>
                  <a:cubicBezTo>
                    <a:pt x="667" y="288893"/>
                    <a:pt x="0" y="283559"/>
                    <a:pt x="0" y="278225"/>
                  </a:cubicBezTo>
                  <a:lnTo>
                    <a:pt x="278225" y="0"/>
                  </a:lnTo>
                  <a:cubicBezTo>
                    <a:pt x="283559" y="0"/>
                    <a:pt x="288893" y="667"/>
                    <a:pt x="294132" y="12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8" name="Freeform: Shape 37">
              <a:extLst>
                <a:ext uri="{FF2B5EF4-FFF2-40B4-BE49-F238E27FC236}">
                  <a16:creationId xmlns:a16="http://schemas.microsoft.com/office/drawing/2014/main" id="{4F6CC180-FC7F-4A8E-BACC-034FD0C68CA9}"/>
                </a:ext>
              </a:extLst>
            </p:cNvPr>
            <p:cNvSpPr/>
            <p:nvPr/>
          </p:nvSpPr>
          <p:spPr>
            <a:xfrm>
              <a:off x="5837205" y="3170110"/>
              <a:ext cx="337184" cy="337280"/>
            </a:xfrm>
            <a:custGeom>
              <a:avLst/>
              <a:gdLst>
                <a:gd name="connsiteX0" fmla="*/ 337185 w 337184"/>
                <a:gd name="connsiteY0" fmla="*/ 3905 h 337280"/>
                <a:gd name="connsiteX1" fmla="*/ 3810 w 337184"/>
                <a:gd name="connsiteY1" fmla="*/ 337280 h 337280"/>
                <a:gd name="connsiteX2" fmla="*/ 0 w 337184"/>
                <a:gd name="connsiteY2" fmla="*/ 323850 h 337280"/>
                <a:gd name="connsiteX3" fmla="*/ 323850 w 337184"/>
                <a:gd name="connsiteY3" fmla="*/ 0 h 337280"/>
                <a:gd name="connsiteX4" fmla="*/ 337185 w 337184"/>
                <a:gd name="connsiteY4" fmla="*/ 3905 h 33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184" h="337280">
                  <a:moveTo>
                    <a:pt x="337185" y="3905"/>
                  </a:moveTo>
                  <a:lnTo>
                    <a:pt x="3810" y="337280"/>
                  </a:lnTo>
                  <a:cubicBezTo>
                    <a:pt x="2381" y="332899"/>
                    <a:pt x="1143" y="328422"/>
                    <a:pt x="0" y="323850"/>
                  </a:cubicBezTo>
                  <a:lnTo>
                    <a:pt x="323850" y="0"/>
                  </a:lnTo>
                  <a:cubicBezTo>
                    <a:pt x="328327" y="1715"/>
                    <a:pt x="332804" y="2477"/>
                    <a:pt x="337185" y="390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39" name="Freeform: Shape 38">
              <a:extLst>
                <a:ext uri="{FF2B5EF4-FFF2-40B4-BE49-F238E27FC236}">
                  <a16:creationId xmlns:a16="http://schemas.microsoft.com/office/drawing/2014/main" id="{A137FFAD-2383-4411-A9CD-B0DCBF8452F9}"/>
                </a:ext>
              </a:extLst>
            </p:cNvPr>
            <p:cNvSpPr/>
            <p:nvPr/>
          </p:nvSpPr>
          <p:spPr>
            <a:xfrm>
              <a:off x="5853207" y="3186207"/>
              <a:ext cx="364617" cy="364617"/>
            </a:xfrm>
            <a:custGeom>
              <a:avLst/>
              <a:gdLst>
                <a:gd name="connsiteX0" fmla="*/ 364617 w 364617"/>
                <a:gd name="connsiteY0" fmla="*/ 5620 h 364617"/>
                <a:gd name="connsiteX1" fmla="*/ 5620 w 364617"/>
                <a:gd name="connsiteY1" fmla="*/ 364617 h 364617"/>
                <a:gd name="connsiteX2" fmla="*/ 0 w 364617"/>
                <a:gd name="connsiteY2" fmla="*/ 353187 h 364617"/>
                <a:gd name="connsiteX3" fmla="*/ 353187 w 364617"/>
                <a:gd name="connsiteY3" fmla="*/ 0 h 364617"/>
                <a:gd name="connsiteX4" fmla="*/ 364617 w 364617"/>
                <a:gd name="connsiteY4" fmla="*/ 5620 h 364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7" h="364617">
                  <a:moveTo>
                    <a:pt x="364617" y="5620"/>
                  </a:moveTo>
                  <a:lnTo>
                    <a:pt x="5620" y="364617"/>
                  </a:lnTo>
                  <a:cubicBezTo>
                    <a:pt x="3620" y="360902"/>
                    <a:pt x="1715" y="357092"/>
                    <a:pt x="0" y="353187"/>
                  </a:cubicBezTo>
                  <a:lnTo>
                    <a:pt x="353187" y="0"/>
                  </a:lnTo>
                  <a:cubicBezTo>
                    <a:pt x="357092" y="1715"/>
                    <a:pt x="360902" y="3715"/>
                    <a:pt x="364617" y="562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0" name="Freeform: Shape 39">
              <a:extLst>
                <a:ext uri="{FF2B5EF4-FFF2-40B4-BE49-F238E27FC236}">
                  <a16:creationId xmlns:a16="http://schemas.microsoft.com/office/drawing/2014/main" id="{6F7ADA10-97E6-406B-955B-4DF941688C55}"/>
                </a:ext>
              </a:extLst>
            </p:cNvPr>
            <p:cNvSpPr/>
            <p:nvPr/>
          </p:nvSpPr>
          <p:spPr>
            <a:xfrm>
              <a:off x="5875305" y="3208305"/>
              <a:ext cx="380238" cy="380238"/>
            </a:xfrm>
            <a:custGeom>
              <a:avLst/>
              <a:gdLst>
                <a:gd name="connsiteX0" fmla="*/ 380238 w 380238"/>
                <a:gd name="connsiteY0" fmla="*/ 7239 h 380238"/>
                <a:gd name="connsiteX1" fmla="*/ 7239 w 380238"/>
                <a:gd name="connsiteY1" fmla="*/ 380238 h 380238"/>
                <a:gd name="connsiteX2" fmla="*/ 0 w 380238"/>
                <a:gd name="connsiteY2" fmla="*/ 370713 h 380238"/>
                <a:gd name="connsiteX3" fmla="*/ 370237 w 380238"/>
                <a:gd name="connsiteY3" fmla="*/ 0 h 380238"/>
                <a:gd name="connsiteX4" fmla="*/ 380238 w 380238"/>
                <a:gd name="connsiteY4" fmla="*/ 7239 h 38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238" h="380238">
                  <a:moveTo>
                    <a:pt x="380238" y="7239"/>
                  </a:moveTo>
                  <a:lnTo>
                    <a:pt x="7239" y="380238"/>
                  </a:lnTo>
                  <a:cubicBezTo>
                    <a:pt x="4763" y="377000"/>
                    <a:pt x="2381" y="373571"/>
                    <a:pt x="0" y="370713"/>
                  </a:cubicBezTo>
                  <a:lnTo>
                    <a:pt x="370237" y="0"/>
                  </a:lnTo>
                  <a:cubicBezTo>
                    <a:pt x="373571" y="2381"/>
                    <a:pt x="377000" y="4763"/>
                    <a:pt x="380238" y="723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1" name="Freeform: Shape 40">
              <a:extLst>
                <a:ext uri="{FF2B5EF4-FFF2-40B4-BE49-F238E27FC236}">
                  <a16:creationId xmlns:a16="http://schemas.microsoft.com/office/drawing/2014/main" id="{E5ED4958-089A-40EE-BEF8-D2DA3283FE41}"/>
                </a:ext>
              </a:extLst>
            </p:cNvPr>
            <p:cNvSpPr/>
            <p:nvPr/>
          </p:nvSpPr>
          <p:spPr>
            <a:xfrm>
              <a:off x="5902832" y="3235832"/>
              <a:ext cx="385191" cy="385191"/>
            </a:xfrm>
            <a:custGeom>
              <a:avLst/>
              <a:gdLst>
                <a:gd name="connsiteX0" fmla="*/ 380905 w 385191"/>
                <a:gd name="connsiteY0" fmla="*/ 4286 h 385191"/>
                <a:gd name="connsiteX1" fmla="*/ 385191 w 385191"/>
                <a:gd name="connsiteY1" fmla="*/ 8573 h 385191"/>
                <a:gd name="connsiteX2" fmla="*/ 8573 w 385191"/>
                <a:gd name="connsiteY2" fmla="*/ 385191 h 385191"/>
                <a:gd name="connsiteX3" fmla="*/ 4286 w 385191"/>
                <a:gd name="connsiteY3" fmla="*/ 380905 h 385191"/>
                <a:gd name="connsiteX4" fmla="*/ 0 w 385191"/>
                <a:gd name="connsiteY4" fmla="*/ 376523 h 385191"/>
                <a:gd name="connsiteX5" fmla="*/ 376523 w 385191"/>
                <a:gd name="connsiteY5" fmla="*/ 0 h 385191"/>
                <a:gd name="connsiteX6" fmla="*/ 380905 w 385191"/>
                <a:gd name="connsiteY6" fmla="*/ 4286 h 38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191" h="385191">
                  <a:moveTo>
                    <a:pt x="380905" y="4286"/>
                  </a:moveTo>
                  <a:lnTo>
                    <a:pt x="385191" y="8573"/>
                  </a:lnTo>
                  <a:lnTo>
                    <a:pt x="8573" y="385191"/>
                  </a:lnTo>
                  <a:lnTo>
                    <a:pt x="4286" y="380905"/>
                  </a:lnTo>
                  <a:cubicBezTo>
                    <a:pt x="2762" y="379476"/>
                    <a:pt x="1334" y="377952"/>
                    <a:pt x="0" y="376523"/>
                  </a:cubicBezTo>
                  <a:lnTo>
                    <a:pt x="376523" y="0"/>
                  </a:lnTo>
                  <a:cubicBezTo>
                    <a:pt x="377952" y="1334"/>
                    <a:pt x="379476" y="2667"/>
                    <a:pt x="380905" y="42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2" name="Freeform: Shape 41">
              <a:extLst>
                <a:ext uri="{FF2B5EF4-FFF2-40B4-BE49-F238E27FC236}">
                  <a16:creationId xmlns:a16="http://schemas.microsoft.com/office/drawing/2014/main" id="{6BBC70D8-0977-4E3E-BDCC-5DB32F534597}"/>
                </a:ext>
              </a:extLst>
            </p:cNvPr>
            <p:cNvSpPr/>
            <p:nvPr/>
          </p:nvSpPr>
          <p:spPr>
            <a:xfrm>
              <a:off x="5935789" y="3268313"/>
              <a:ext cx="379761" cy="380237"/>
            </a:xfrm>
            <a:custGeom>
              <a:avLst/>
              <a:gdLst>
                <a:gd name="connsiteX0" fmla="*/ 372428 w 379761"/>
                <a:gd name="connsiteY0" fmla="*/ 0 h 380237"/>
                <a:gd name="connsiteX1" fmla="*/ 379762 w 379761"/>
                <a:gd name="connsiteY1" fmla="*/ 9525 h 380237"/>
                <a:gd name="connsiteX2" fmla="*/ 9525 w 379761"/>
                <a:gd name="connsiteY2" fmla="*/ 380238 h 380237"/>
                <a:gd name="connsiteX3" fmla="*/ 0 w 379761"/>
                <a:gd name="connsiteY3" fmla="*/ 372904 h 380237"/>
              </a:gdLst>
              <a:ahLst/>
              <a:cxnLst>
                <a:cxn ang="0">
                  <a:pos x="connsiteX0" y="connsiteY0"/>
                </a:cxn>
                <a:cxn ang="0">
                  <a:pos x="connsiteX1" y="connsiteY1"/>
                </a:cxn>
                <a:cxn ang="0">
                  <a:pos x="connsiteX2" y="connsiteY2"/>
                </a:cxn>
                <a:cxn ang="0">
                  <a:pos x="connsiteX3" y="connsiteY3"/>
                </a:cxn>
              </a:cxnLst>
              <a:rect l="l" t="t" r="r" b="b"/>
              <a:pathLst>
                <a:path w="379761" h="380237">
                  <a:moveTo>
                    <a:pt x="372428" y="0"/>
                  </a:moveTo>
                  <a:cubicBezTo>
                    <a:pt x="374999" y="3239"/>
                    <a:pt x="377381" y="6572"/>
                    <a:pt x="379762" y="9525"/>
                  </a:cubicBezTo>
                  <a:lnTo>
                    <a:pt x="9525" y="380238"/>
                  </a:lnTo>
                  <a:cubicBezTo>
                    <a:pt x="6096" y="377857"/>
                    <a:pt x="2762" y="375476"/>
                    <a:pt x="0" y="37290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3" name="Freeform: Shape 42">
              <a:extLst>
                <a:ext uri="{FF2B5EF4-FFF2-40B4-BE49-F238E27FC236}">
                  <a16:creationId xmlns:a16="http://schemas.microsoft.com/office/drawing/2014/main" id="{22F37D25-C4FD-4978-AE31-636891A33D69}"/>
                </a:ext>
              </a:extLst>
            </p:cNvPr>
            <p:cNvSpPr/>
            <p:nvPr/>
          </p:nvSpPr>
          <p:spPr>
            <a:xfrm>
              <a:off x="5972841" y="3305841"/>
              <a:ext cx="364807" cy="364807"/>
            </a:xfrm>
            <a:custGeom>
              <a:avLst/>
              <a:gdLst>
                <a:gd name="connsiteX0" fmla="*/ 359188 w 364807"/>
                <a:gd name="connsiteY0" fmla="*/ 0 h 364807"/>
                <a:gd name="connsiteX1" fmla="*/ 364808 w 364807"/>
                <a:gd name="connsiteY1" fmla="*/ 11621 h 364807"/>
                <a:gd name="connsiteX2" fmla="*/ 11621 w 364807"/>
                <a:gd name="connsiteY2" fmla="*/ 364808 h 364807"/>
                <a:gd name="connsiteX3" fmla="*/ 0 w 364807"/>
                <a:gd name="connsiteY3" fmla="*/ 359188 h 364807"/>
              </a:gdLst>
              <a:ahLst/>
              <a:cxnLst>
                <a:cxn ang="0">
                  <a:pos x="connsiteX0" y="connsiteY0"/>
                </a:cxn>
                <a:cxn ang="0">
                  <a:pos x="connsiteX1" y="connsiteY1"/>
                </a:cxn>
                <a:cxn ang="0">
                  <a:pos x="connsiteX2" y="connsiteY2"/>
                </a:cxn>
                <a:cxn ang="0">
                  <a:pos x="connsiteX3" y="connsiteY3"/>
                </a:cxn>
              </a:cxnLst>
              <a:rect l="l" t="t" r="r" b="b"/>
              <a:pathLst>
                <a:path w="364807" h="364807">
                  <a:moveTo>
                    <a:pt x="359188" y="0"/>
                  </a:moveTo>
                  <a:cubicBezTo>
                    <a:pt x="361188" y="3905"/>
                    <a:pt x="362998" y="7715"/>
                    <a:pt x="364808" y="11621"/>
                  </a:cubicBezTo>
                  <a:lnTo>
                    <a:pt x="11621" y="364808"/>
                  </a:lnTo>
                  <a:cubicBezTo>
                    <a:pt x="7715" y="362998"/>
                    <a:pt x="3905" y="361188"/>
                    <a:pt x="0" y="35918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4" name="Freeform: Shape 43">
              <a:extLst>
                <a:ext uri="{FF2B5EF4-FFF2-40B4-BE49-F238E27FC236}">
                  <a16:creationId xmlns:a16="http://schemas.microsoft.com/office/drawing/2014/main" id="{42DD3606-BA69-4959-9335-377E9AA120FF}"/>
                </a:ext>
              </a:extLst>
            </p:cNvPr>
            <p:cNvSpPr/>
            <p:nvPr/>
          </p:nvSpPr>
          <p:spPr>
            <a:xfrm>
              <a:off x="6016370" y="3349466"/>
              <a:ext cx="337280" cy="337280"/>
            </a:xfrm>
            <a:custGeom>
              <a:avLst/>
              <a:gdLst>
                <a:gd name="connsiteX0" fmla="*/ 333470 w 337280"/>
                <a:gd name="connsiteY0" fmla="*/ 0 h 337280"/>
                <a:gd name="connsiteX1" fmla="*/ 337280 w 337280"/>
                <a:gd name="connsiteY1" fmla="*/ 13430 h 337280"/>
                <a:gd name="connsiteX2" fmla="*/ 13430 w 337280"/>
                <a:gd name="connsiteY2" fmla="*/ 337280 h 337280"/>
                <a:gd name="connsiteX3" fmla="*/ 0 w 337280"/>
                <a:gd name="connsiteY3" fmla="*/ 333470 h 337280"/>
              </a:gdLst>
              <a:ahLst/>
              <a:cxnLst>
                <a:cxn ang="0">
                  <a:pos x="connsiteX0" y="connsiteY0"/>
                </a:cxn>
                <a:cxn ang="0">
                  <a:pos x="connsiteX1" y="connsiteY1"/>
                </a:cxn>
                <a:cxn ang="0">
                  <a:pos x="connsiteX2" y="connsiteY2"/>
                </a:cxn>
                <a:cxn ang="0">
                  <a:pos x="connsiteX3" y="connsiteY3"/>
                </a:cxn>
              </a:cxnLst>
              <a:rect l="l" t="t" r="r" b="b"/>
              <a:pathLst>
                <a:path w="337280" h="337280">
                  <a:moveTo>
                    <a:pt x="333470" y="0"/>
                  </a:moveTo>
                  <a:cubicBezTo>
                    <a:pt x="334899" y="4382"/>
                    <a:pt x="336137" y="8858"/>
                    <a:pt x="337280" y="13430"/>
                  </a:cubicBezTo>
                  <a:lnTo>
                    <a:pt x="13430" y="337280"/>
                  </a:lnTo>
                  <a:cubicBezTo>
                    <a:pt x="8858" y="336137"/>
                    <a:pt x="4382" y="334899"/>
                    <a:pt x="0" y="3334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5" name="Freeform: Shape 44">
              <a:extLst>
                <a:ext uri="{FF2B5EF4-FFF2-40B4-BE49-F238E27FC236}">
                  <a16:creationId xmlns:a16="http://schemas.microsoft.com/office/drawing/2014/main" id="{F5B11ABC-F37E-4946-9A7B-90D363182626}"/>
                </a:ext>
              </a:extLst>
            </p:cNvPr>
            <p:cNvSpPr/>
            <p:nvPr/>
          </p:nvSpPr>
          <p:spPr>
            <a:xfrm>
              <a:off x="6067329" y="3400425"/>
              <a:ext cx="294227" cy="294132"/>
            </a:xfrm>
            <a:custGeom>
              <a:avLst/>
              <a:gdLst>
                <a:gd name="connsiteX0" fmla="*/ 292989 w 294227"/>
                <a:gd name="connsiteY0" fmla="*/ 0 h 294132"/>
                <a:gd name="connsiteX1" fmla="*/ 294227 w 294227"/>
                <a:gd name="connsiteY1" fmla="*/ 15907 h 294132"/>
                <a:gd name="connsiteX2" fmla="*/ 15907 w 294227"/>
                <a:gd name="connsiteY2" fmla="*/ 294132 h 294132"/>
                <a:gd name="connsiteX3" fmla="*/ 0 w 294227"/>
                <a:gd name="connsiteY3" fmla="*/ 292894 h 294132"/>
              </a:gdLst>
              <a:ahLst/>
              <a:cxnLst>
                <a:cxn ang="0">
                  <a:pos x="connsiteX0" y="connsiteY0"/>
                </a:cxn>
                <a:cxn ang="0">
                  <a:pos x="connsiteX1" y="connsiteY1"/>
                </a:cxn>
                <a:cxn ang="0">
                  <a:pos x="connsiteX2" y="connsiteY2"/>
                </a:cxn>
                <a:cxn ang="0">
                  <a:pos x="connsiteX3" y="connsiteY3"/>
                </a:cxn>
              </a:cxnLst>
              <a:rect l="l" t="t" r="r" b="b"/>
              <a:pathLst>
                <a:path w="294227" h="294132">
                  <a:moveTo>
                    <a:pt x="292989" y="0"/>
                  </a:moveTo>
                  <a:cubicBezTo>
                    <a:pt x="293561" y="5334"/>
                    <a:pt x="293942" y="10668"/>
                    <a:pt x="294227" y="15907"/>
                  </a:cubicBezTo>
                  <a:lnTo>
                    <a:pt x="15907" y="294132"/>
                  </a:lnTo>
                  <a:cubicBezTo>
                    <a:pt x="10668" y="294132"/>
                    <a:pt x="5334" y="293465"/>
                    <a:pt x="0" y="29289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6" name="Freeform: Shape 45">
              <a:extLst>
                <a:ext uri="{FF2B5EF4-FFF2-40B4-BE49-F238E27FC236}">
                  <a16:creationId xmlns:a16="http://schemas.microsoft.com/office/drawing/2014/main" id="{D86B1D23-2F36-4086-9CF7-D76D833D2282}"/>
                </a:ext>
              </a:extLst>
            </p:cNvPr>
            <p:cNvSpPr/>
            <p:nvPr/>
          </p:nvSpPr>
          <p:spPr>
            <a:xfrm>
              <a:off x="6129337" y="3462337"/>
              <a:ext cx="230314" cy="230314"/>
            </a:xfrm>
            <a:custGeom>
              <a:avLst/>
              <a:gdLst>
                <a:gd name="connsiteX0" fmla="*/ 230315 w 230314"/>
                <a:gd name="connsiteY0" fmla="*/ 0 h 230314"/>
                <a:gd name="connsiteX1" fmla="*/ 226886 w 230314"/>
                <a:gd name="connsiteY1" fmla="*/ 20574 h 230314"/>
                <a:gd name="connsiteX2" fmla="*/ 20669 w 230314"/>
                <a:gd name="connsiteY2" fmla="*/ 226790 h 230314"/>
                <a:gd name="connsiteX3" fmla="*/ 0 w 230314"/>
                <a:gd name="connsiteY3" fmla="*/ 230315 h 230314"/>
              </a:gdLst>
              <a:ahLst/>
              <a:cxnLst>
                <a:cxn ang="0">
                  <a:pos x="connsiteX0" y="connsiteY0"/>
                </a:cxn>
                <a:cxn ang="0">
                  <a:pos x="connsiteX1" y="connsiteY1"/>
                </a:cxn>
                <a:cxn ang="0">
                  <a:pos x="connsiteX2" y="connsiteY2"/>
                </a:cxn>
                <a:cxn ang="0">
                  <a:pos x="connsiteX3" y="connsiteY3"/>
                </a:cxn>
              </a:cxnLst>
              <a:rect l="l" t="t" r="r" b="b"/>
              <a:pathLst>
                <a:path w="230314" h="230314">
                  <a:moveTo>
                    <a:pt x="230315" y="0"/>
                  </a:moveTo>
                  <a:cubicBezTo>
                    <a:pt x="229457" y="6953"/>
                    <a:pt x="228314" y="13716"/>
                    <a:pt x="226886" y="20574"/>
                  </a:cubicBezTo>
                  <a:lnTo>
                    <a:pt x="20669" y="226790"/>
                  </a:lnTo>
                  <a:cubicBezTo>
                    <a:pt x="13811" y="228314"/>
                    <a:pt x="6953" y="229457"/>
                    <a:pt x="0" y="23031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47" name="Freeform: Shape 46">
              <a:extLst>
                <a:ext uri="{FF2B5EF4-FFF2-40B4-BE49-F238E27FC236}">
                  <a16:creationId xmlns:a16="http://schemas.microsoft.com/office/drawing/2014/main" id="{A3AE423B-5BB8-454B-B2D6-85AE6185C587}"/>
                </a:ext>
              </a:extLst>
            </p:cNvPr>
            <p:cNvSpPr/>
            <p:nvPr/>
          </p:nvSpPr>
          <p:spPr>
            <a:xfrm>
              <a:off x="6218682" y="3551682"/>
              <a:ext cx="112871" cy="112871"/>
            </a:xfrm>
            <a:custGeom>
              <a:avLst/>
              <a:gdLst>
                <a:gd name="connsiteX0" fmla="*/ 112871 w 112871"/>
                <a:gd name="connsiteY0" fmla="*/ 0 h 112871"/>
                <a:gd name="connsiteX1" fmla="*/ 0 w 112871"/>
                <a:gd name="connsiteY1" fmla="*/ 112871 h 112871"/>
              </a:gdLst>
              <a:ahLst/>
              <a:cxnLst>
                <a:cxn ang="0">
                  <a:pos x="connsiteX0" y="connsiteY0"/>
                </a:cxn>
                <a:cxn ang="0">
                  <a:pos x="connsiteX1" y="connsiteY1"/>
                </a:cxn>
              </a:cxnLst>
              <a:rect l="l" t="t" r="r" b="b"/>
              <a:pathLst>
                <a:path w="112871" h="112871">
                  <a:moveTo>
                    <a:pt x="112871" y="0"/>
                  </a:moveTo>
                  <a:cubicBezTo>
                    <a:pt x="87618" y="48239"/>
                    <a:pt x="48239" y="87618"/>
                    <a:pt x="0" y="1128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ource Sans Pro"/>
                <a:ea typeface="+mn-ea"/>
                <a:cs typeface="+mn-cs"/>
              </a:endParaRPr>
            </a:p>
          </p:txBody>
        </p:sp>
      </p:grpSp>
      <p:grpSp>
        <p:nvGrpSpPr>
          <p:cNvPr id="52" name="Group 51">
            <a:extLst>
              <a:ext uri="{FF2B5EF4-FFF2-40B4-BE49-F238E27FC236}">
                <a16:creationId xmlns:a16="http://schemas.microsoft.com/office/drawing/2014/main" id="{3BF87D25-4424-40BA-B114-A4FB8BDFE843}"/>
              </a:ext>
              <a:ext uri="{C183D7F6-B498-43B3-948B-1728B52AA6E4}">
                <adec:decorative xmlns:adec="http://schemas.microsoft.com/office/drawing/2017/decorative" val="1"/>
              </a:ext>
            </a:extLst>
          </p:cNvPr>
          <p:cNvGrpSpPr/>
          <p:nvPr userDrawn="1"/>
        </p:nvGrpSpPr>
        <p:grpSpPr>
          <a:xfrm>
            <a:off x="0" y="681037"/>
            <a:ext cx="1170294" cy="709661"/>
            <a:chOff x="0" y="681037"/>
            <a:chExt cx="1170294" cy="709661"/>
          </a:xfrm>
        </p:grpSpPr>
        <p:sp>
          <p:nvSpPr>
            <p:cNvPr id="53" name="Freeform: Shape 52">
              <a:extLst>
                <a:ext uri="{FF2B5EF4-FFF2-40B4-BE49-F238E27FC236}">
                  <a16:creationId xmlns:a16="http://schemas.microsoft.com/office/drawing/2014/main" id="{B567477D-2972-4718-B0A2-9FC97531B87F}"/>
                </a:ext>
                <a:ext uri="{C183D7F6-B498-43B3-948B-1728B52AA6E4}">
                  <adec:decorative xmlns:adec="http://schemas.microsoft.com/office/drawing/2017/decorative" val="1"/>
                </a:ext>
              </a:extLst>
            </p:cNvPr>
            <p:cNvSpPr/>
            <p:nvPr userDrawn="1"/>
          </p:nvSpPr>
          <p:spPr>
            <a:xfrm>
              <a:off x="0" y="681037"/>
              <a:ext cx="1170294" cy="274629"/>
            </a:xfrm>
            <a:custGeom>
              <a:avLst/>
              <a:gdLst>
                <a:gd name="connsiteX0" fmla="*/ 453342 w 1170294"/>
                <a:gd name="connsiteY0" fmla="*/ 0 h 274629"/>
                <a:gd name="connsiteX1" fmla="*/ 689085 w 1170294"/>
                <a:gd name="connsiteY1" fmla="*/ 235744 h 274629"/>
                <a:gd name="connsiteX2" fmla="*/ 924829 w 1170294"/>
                <a:gd name="connsiteY2" fmla="*/ 0 h 274629"/>
                <a:gd name="connsiteX3" fmla="*/ 1170294 w 1170294"/>
                <a:gd name="connsiteY3" fmla="*/ 245465 h 274629"/>
                <a:gd name="connsiteX4" fmla="*/ 1153282 w 1170294"/>
                <a:gd name="connsiteY4" fmla="*/ 264908 h 274629"/>
                <a:gd name="connsiteX5" fmla="*/ 924829 w 1170294"/>
                <a:gd name="connsiteY5" fmla="*/ 38885 h 274629"/>
                <a:gd name="connsiteX6" fmla="*/ 689085 w 1170294"/>
                <a:gd name="connsiteY6" fmla="*/ 274629 h 274629"/>
                <a:gd name="connsiteX7" fmla="*/ 453342 w 1170294"/>
                <a:gd name="connsiteY7" fmla="*/ 38885 h 274629"/>
                <a:gd name="connsiteX8" fmla="*/ 215168 w 1170294"/>
                <a:gd name="connsiteY8" fmla="*/ 274629 h 274629"/>
                <a:gd name="connsiteX9" fmla="*/ 0 w 1170294"/>
                <a:gd name="connsiteY9" fmla="*/ 59462 h 274629"/>
                <a:gd name="connsiteX10" fmla="*/ 0 w 1170294"/>
                <a:gd name="connsiteY10" fmla="*/ 20577 h 274629"/>
                <a:gd name="connsiteX11" fmla="*/ 215168 w 1170294"/>
                <a:gd name="connsiteY11" fmla="*/ 235744 h 27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0294" h="274629">
                  <a:moveTo>
                    <a:pt x="453342" y="0"/>
                  </a:moveTo>
                  <a:lnTo>
                    <a:pt x="689085" y="235744"/>
                  </a:lnTo>
                  <a:lnTo>
                    <a:pt x="924829" y="0"/>
                  </a:lnTo>
                  <a:lnTo>
                    <a:pt x="1170294" y="245465"/>
                  </a:lnTo>
                  <a:lnTo>
                    <a:pt x="1153282" y="264908"/>
                  </a:lnTo>
                  <a:lnTo>
                    <a:pt x="924829" y="38885"/>
                  </a:lnTo>
                  <a:lnTo>
                    <a:pt x="689085" y="274629"/>
                  </a:lnTo>
                  <a:lnTo>
                    <a:pt x="453342" y="38885"/>
                  </a:lnTo>
                  <a:lnTo>
                    <a:pt x="215168" y="274629"/>
                  </a:lnTo>
                  <a:lnTo>
                    <a:pt x="0" y="59462"/>
                  </a:lnTo>
                  <a:lnTo>
                    <a:pt x="0" y="20577"/>
                  </a:lnTo>
                  <a:lnTo>
                    <a:pt x="215168" y="235744"/>
                  </a:lnTo>
                  <a:close/>
                </a:path>
              </a:pathLst>
            </a:cu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54" name="Freeform: Shape 53">
              <a:extLst>
                <a:ext uri="{FF2B5EF4-FFF2-40B4-BE49-F238E27FC236}">
                  <a16:creationId xmlns:a16="http://schemas.microsoft.com/office/drawing/2014/main" id="{52D08859-301B-4802-95D8-B8A552752B90}"/>
                </a:ext>
                <a:ext uri="{C183D7F6-B498-43B3-948B-1728B52AA6E4}">
                  <adec:decorative xmlns:adec="http://schemas.microsoft.com/office/drawing/2017/decorative" val="1"/>
                </a:ext>
              </a:extLst>
            </p:cNvPr>
            <p:cNvSpPr/>
            <p:nvPr userDrawn="1"/>
          </p:nvSpPr>
          <p:spPr>
            <a:xfrm>
              <a:off x="0" y="1116069"/>
              <a:ext cx="1170294" cy="274629"/>
            </a:xfrm>
            <a:custGeom>
              <a:avLst/>
              <a:gdLst>
                <a:gd name="connsiteX0" fmla="*/ 453342 w 1170294"/>
                <a:gd name="connsiteY0" fmla="*/ 0 h 274629"/>
                <a:gd name="connsiteX1" fmla="*/ 689085 w 1170294"/>
                <a:gd name="connsiteY1" fmla="*/ 238174 h 274629"/>
                <a:gd name="connsiteX2" fmla="*/ 924829 w 1170294"/>
                <a:gd name="connsiteY2" fmla="*/ 0 h 274629"/>
                <a:gd name="connsiteX3" fmla="*/ 1170294 w 1170294"/>
                <a:gd name="connsiteY3" fmla="*/ 247895 h 274629"/>
                <a:gd name="connsiteX4" fmla="*/ 1153282 w 1170294"/>
                <a:gd name="connsiteY4" fmla="*/ 264908 h 274629"/>
                <a:gd name="connsiteX5" fmla="*/ 924829 w 1170294"/>
                <a:gd name="connsiteY5" fmla="*/ 38885 h 274629"/>
                <a:gd name="connsiteX6" fmla="*/ 689085 w 1170294"/>
                <a:gd name="connsiteY6" fmla="*/ 274629 h 274629"/>
                <a:gd name="connsiteX7" fmla="*/ 453342 w 1170294"/>
                <a:gd name="connsiteY7" fmla="*/ 38885 h 274629"/>
                <a:gd name="connsiteX8" fmla="*/ 215168 w 1170294"/>
                <a:gd name="connsiteY8" fmla="*/ 274629 h 274629"/>
                <a:gd name="connsiteX9" fmla="*/ 0 w 1170294"/>
                <a:gd name="connsiteY9" fmla="*/ 59462 h 274629"/>
                <a:gd name="connsiteX10" fmla="*/ 0 w 1170294"/>
                <a:gd name="connsiteY10" fmla="*/ 20789 h 274629"/>
                <a:gd name="connsiteX11" fmla="*/ 215168 w 1170294"/>
                <a:gd name="connsiteY11" fmla="*/ 238174 h 27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0294" h="274629">
                  <a:moveTo>
                    <a:pt x="453342" y="0"/>
                  </a:moveTo>
                  <a:lnTo>
                    <a:pt x="689085" y="238174"/>
                  </a:lnTo>
                  <a:lnTo>
                    <a:pt x="924829" y="0"/>
                  </a:lnTo>
                  <a:lnTo>
                    <a:pt x="1170294" y="247895"/>
                  </a:lnTo>
                  <a:lnTo>
                    <a:pt x="1153282" y="264908"/>
                  </a:lnTo>
                  <a:lnTo>
                    <a:pt x="924829" y="38885"/>
                  </a:lnTo>
                  <a:lnTo>
                    <a:pt x="689085" y="274629"/>
                  </a:lnTo>
                  <a:lnTo>
                    <a:pt x="453342" y="38885"/>
                  </a:lnTo>
                  <a:lnTo>
                    <a:pt x="215168" y="274629"/>
                  </a:lnTo>
                  <a:lnTo>
                    <a:pt x="0" y="59462"/>
                  </a:lnTo>
                  <a:lnTo>
                    <a:pt x="0" y="20789"/>
                  </a:lnTo>
                  <a:lnTo>
                    <a:pt x="215168" y="238174"/>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grpSp>
      <p:sp>
        <p:nvSpPr>
          <p:cNvPr id="48" name="Title 1">
            <a:extLst>
              <a:ext uri="{FF2B5EF4-FFF2-40B4-BE49-F238E27FC236}">
                <a16:creationId xmlns:a16="http://schemas.microsoft.com/office/drawing/2014/main" id="{430ADD3E-99CC-43CF-9A97-D44AA54C5F1E}"/>
              </a:ext>
            </a:extLst>
          </p:cNvPr>
          <p:cNvSpPr>
            <a:spLocks noGrp="1"/>
          </p:cNvSpPr>
          <p:nvPr>
            <p:ph type="title"/>
          </p:nvPr>
        </p:nvSpPr>
        <p:spPr>
          <a:xfrm>
            <a:off x="1331088" y="565739"/>
            <a:ext cx="9745883" cy="1124949"/>
          </a:xfrm>
        </p:spPr>
        <p:txBody>
          <a:bodyPr/>
          <a:lstStyle/>
          <a:p>
            <a:r>
              <a:rPr lang="en-US"/>
              <a:t>Click to edit Master title style</a:t>
            </a:r>
            <a:endParaRPr lang="en-US" dirty="0"/>
          </a:p>
        </p:txBody>
      </p:sp>
      <p:sp>
        <p:nvSpPr>
          <p:cNvPr id="49" name="Date Placeholder 10">
            <a:extLst>
              <a:ext uri="{FF2B5EF4-FFF2-40B4-BE49-F238E27FC236}">
                <a16:creationId xmlns:a16="http://schemas.microsoft.com/office/drawing/2014/main" id="{8C8B246A-7ACC-4517-903D-35509488E524}"/>
              </a:ext>
            </a:extLst>
          </p:cNvPr>
          <p:cNvSpPr>
            <a:spLocks noGrp="1"/>
          </p:cNvSpPr>
          <p:nvPr>
            <p:ph type="dt" sz="half" idx="10"/>
          </p:nvPr>
        </p:nvSpPr>
        <p:spPr>
          <a:xfrm>
            <a:off x="838200" y="6356350"/>
            <a:ext cx="27432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a:ln>
                  <a:noFill/>
                </a:ln>
                <a:solidFill>
                  <a:prstClr val="black">
                    <a:tint val="75000"/>
                  </a:prstClr>
                </a:solidFill>
                <a:effectLst/>
                <a:uLnTx/>
                <a:uFillTx/>
                <a:latin typeface="Source Sans Pro"/>
                <a:cs typeface="+mn-cs"/>
              </a:rPr>
              <a:t>2/1/20XX</a:t>
            </a:r>
            <a:endParaRPr kumimoji="0" lang="en-US" sz="1200" b="1" i="0" u="none" strike="noStrike" kern="1200" cap="all" spc="100" normalizeH="0" baseline="0" noProof="0" dirty="0">
              <a:ln>
                <a:noFill/>
              </a:ln>
              <a:solidFill>
                <a:prstClr val="black">
                  <a:tint val="75000"/>
                </a:prstClr>
              </a:solidFill>
              <a:effectLst/>
              <a:uLnTx/>
              <a:uFillTx/>
              <a:latin typeface="Source Sans Pro"/>
              <a:cs typeface="+mn-cs"/>
            </a:endParaRPr>
          </a:p>
        </p:txBody>
      </p:sp>
      <p:sp>
        <p:nvSpPr>
          <p:cNvPr id="50" name="Footer Placeholder 11">
            <a:extLst>
              <a:ext uri="{FF2B5EF4-FFF2-40B4-BE49-F238E27FC236}">
                <a16:creationId xmlns:a16="http://schemas.microsoft.com/office/drawing/2014/main" id="{C75AD95D-76DC-4BCD-8AFB-35B7DB2D7F38}"/>
              </a:ext>
            </a:extLst>
          </p:cNvPr>
          <p:cNvSpPr>
            <a:spLocks noGrp="1"/>
          </p:cNvSpPr>
          <p:nvPr>
            <p:ph type="ftr" sz="quarter" idx="11"/>
          </p:nvPr>
        </p:nvSpPr>
        <p:spPr>
          <a:xfrm>
            <a:off x="403860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all" spc="100" normalizeH="0" baseline="0" noProof="0" dirty="0">
                <a:ln>
                  <a:noFill/>
                </a:ln>
                <a:solidFill>
                  <a:prstClr val="black">
                    <a:tint val="75000"/>
                  </a:prstClr>
                </a:solidFill>
                <a:effectLst/>
                <a:uLnTx/>
                <a:uFillTx/>
                <a:latin typeface="Source Sans Pro"/>
                <a:cs typeface="+mn-cs"/>
              </a:rPr>
              <a:t>PRESENTATION TITLE</a:t>
            </a:r>
          </a:p>
        </p:txBody>
      </p:sp>
      <p:sp>
        <p:nvSpPr>
          <p:cNvPr id="51" name="Slide Number Placeholder 12">
            <a:extLst>
              <a:ext uri="{FF2B5EF4-FFF2-40B4-BE49-F238E27FC236}">
                <a16:creationId xmlns:a16="http://schemas.microsoft.com/office/drawing/2014/main" id="{65BB740A-80ED-48DA-B622-9643EFA2303C}"/>
              </a:ext>
            </a:extLst>
          </p:cNvPr>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67E29-1480-472A-9FC5-C4768A52587C}" type="slidenum">
              <a:rPr kumimoji="0" lang="en-US" sz="1200" b="1" i="0" u="none" strike="noStrike" kern="1200" cap="all" spc="100" normalizeH="0" baseline="0" noProof="0" smtClean="0">
                <a:ln>
                  <a:noFill/>
                </a:ln>
                <a:solidFill>
                  <a:prstClr val="black">
                    <a:tint val="75000"/>
                  </a:prstClr>
                </a:solidFill>
                <a:effectLst/>
                <a:uLnTx/>
                <a:uFillTx/>
                <a:latin typeface="Source Sans Pro"/>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all" spc="100" normalizeH="0" baseline="0" noProof="0" dirty="0">
              <a:ln>
                <a:noFill/>
              </a:ln>
              <a:solidFill>
                <a:prstClr val="black">
                  <a:tint val="75000"/>
                </a:prstClr>
              </a:solidFill>
              <a:effectLst/>
              <a:uLnTx/>
              <a:uFillTx/>
              <a:latin typeface="Source Sans Pro"/>
              <a:cs typeface="+mn-cs"/>
            </a:endParaRPr>
          </a:p>
        </p:txBody>
      </p:sp>
      <p:sp>
        <p:nvSpPr>
          <p:cNvPr id="2" name="Oval 1">
            <a:extLst>
              <a:ext uri="{FF2B5EF4-FFF2-40B4-BE49-F238E27FC236}">
                <a16:creationId xmlns:a16="http://schemas.microsoft.com/office/drawing/2014/main" id="{7F7C86B6-604E-4B54-A07B-F9BB80F8727E}"/>
              </a:ext>
              <a:ext uri="{C183D7F6-B498-43B3-948B-1728B52AA6E4}">
                <adec:decorative xmlns:adec="http://schemas.microsoft.com/office/drawing/2017/decorative" val="1"/>
              </a:ext>
            </a:extLst>
          </p:cNvPr>
          <p:cNvSpPr/>
          <p:nvPr userDrawn="1"/>
        </p:nvSpPr>
        <p:spPr>
          <a:xfrm>
            <a:off x="11559544" y="5991329"/>
            <a:ext cx="365021" cy="365021"/>
          </a:xfrm>
          <a:prstGeom prst="ellipse">
            <a:avLst/>
          </a:prstGeom>
          <a:solidFill>
            <a:schemeClr val="accent1">
              <a:alpha val="2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Tree>
    <p:extLst>
      <p:ext uri="{BB962C8B-B14F-4D97-AF65-F5344CB8AC3E}">
        <p14:creationId xmlns:p14="http://schemas.microsoft.com/office/powerpoint/2010/main" val="15986431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633F5C3-CD4B-4472-B59A-49D460CB1CD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772236B-AB2C-4D6F-AE15-700992DA917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8090F509-07BE-4446-8772-F44E09936B7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1" cap="all" spc="100" baseline="0">
                <a:solidFill>
                  <a:schemeClr val="tx1">
                    <a:tint val="75000"/>
                  </a:schemeClr>
                </a:solidFill>
                <a:latin typeface="+mn-lt"/>
                <a:ea typeface="Source Sans Pro SemiBold" panose="020B0603030403020204" pitchFamily="34" charset="0"/>
              </a:defRPr>
            </a:lvl1pPr>
          </a:lstStyle>
          <a:p>
            <a:r>
              <a:rPr lang="en-US"/>
              <a:t>2/1/20XX</a:t>
            </a:r>
            <a:endParaRPr lang="en-US" dirty="0"/>
          </a:p>
        </p:txBody>
      </p:sp>
      <p:sp>
        <p:nvSpPr>
          <p:cNvPr id="5" name="Footer Placeholder 4">
            <a:extLst>
              <a:ext uri="{FF2B5EF4-FFF2-40B4-BE49-F238E27FC236}">
                <a16:creationId xmlns:a16="http://schemas.microsoft.com/office/drawing/2014/main" id="{501B927E-3833-4F85-99B5-56B5F1E540D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1" cap="all" spc="100" baseline="0">
                <a:solidFill>
                  <a:schemeClr val="tx1">
                    <a:tint val="75000"/>
                  </a:schemeClr>
                </a:solidFill>
                <a:latin typeface="+mn-lt"/>
                <a:ea typeface="Source Sans Pro SemiBold" panose="020B0603030403020204" pitchFamily="34" charset="0"/>
              </a:defRPr>
            </a:lvl1pPr>
          </a:lstStyle>
          <a:p>
            <a:r>
              <a:rPr lang="en-US"/>
              <a:t>PRESENTATION TITLE</a:t>
            </a:r>
            <a:endParaRPr lang="en-US" dirty="0"/>
          </a:p>
        </p:txBody>
      </p:sp>
      <p:sp>
        <p:nvSpPr>
          <p:cNvPr id="6" name="Slide Number Placeholder 5">
            <a:extLst>
              <a:ext uri="{FF2B5EF4-FFF2-40B4-BE49-F238E27FC236}">
                <a16:creationId xmlns:a16="http://schemas.microsoft.com/office/drawing/2014/main" id="{E628CB64-4E98-43DE-B543-7BE5B329DBA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1" cap="all" spc="100" baseline="0">
                <a:solidFill>
                  <a:schemeClr val="tx1">
                    <a:tint val="75000"/>
                  </a:schemeClr>
                </a:solidFill>
                <a:latin typeface="+mn-lt"/>
                <a:ea typeface="Source Sans Pro SemiBold" panose="020B0603030403020204" pitchFamily="34" charset="0"/>
              </a:defRPr>
            </a:lvl1pPr>
          </a:lstStyle>
          <a:p>
            <a:fld id="{5EA792F7-1D9E-4C7E-A103-E8EDFDC2691E}" type="slidenum">
              <a:rPr lang="en-US" smtClean="0"/>
              <a:t>‹#›</a:t>
            </a:fld>
            <a:endParaRPr lang="en-US" dirty="0"/>
          </a:p>
        </p:txBody>
      </p:sp>
    </p:spTree>
    <p:extLst>
      <p:ext uri="{BB962C8B-B14F-4D97-AF65-F5344CB8AC3E}">
        <p14:creationId xmlns:p14="http://schemas.microsoft.com/office/powerpoint/2010/main" val="405275744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hyperlink" Target="https://www.publicdomainpictures.net/view-image.php?image=372245&amp;picture=gegevens"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1.xml"/><Relationship Id="rId1" Type="http://schemas.openxmlformats.org/officeDocument/2006/relationships/tags" Target="../tags/tag3.xml"/><Relationship Id="rId5" Type="http://schemas.microsoft.com/office/2007/relationships/hdphoto" Target="../media/hdphoto3.wdp"/><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microsoft.com/office/2007/relationships/hdphoto" Target="../media/hdphoto2.wdp"/><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image" Target="../media/image4.png"/><Relationship Id="rId5" Type="http://schemas.microsoft.com/office/2007/relationships/hdphoto" Target="../media/hdphoto1.wdp"/><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microsoft.com/office/2007/relationships/hdphoto" Target="../media/hdphoto3.wdp"/></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2.xml"/><Relationship Id="rId5" Type="http://schemas.openxmlformats.org/officeDocument/2006/relationships/image" Target="../media/image7.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9.sv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10.sv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microsoft.com/office/2007/relationships/hdphoto" Target="../media/hdphoto4.wdp"/></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837473B0-CC2E-450A-ABE3-18F120FF3D39}">
                <a1611:picAttrSrcUrl xmlns:a1611="http://schemas.microsoft.com/office/drawing/2016/11/main" r:id="rId4"/>
              </a:ext>
            </a:extLst>
          </a:blip>
          <a:srcRect/>
          <a:stretch>
            <a:fillRect t="-9000" b="-9000"/>
          </a:stretch>
        </a:blipFill>
        <a:effectLst/>
      </p:bgPr>
    </p:bg>
    <p:spTree>
      <p:nvGrpSpPr>
        <p:cNvPr id="1" name=""/>
        <p:cNvGrpSpPr/>
        <p:nvPr/>
      </p:nvGrpSpPr>
      <p:grpSpPr>
        <a:xfrm>
          <a:off x="0" y="0"/>
          <a:ext cx="0" cy="0"/>
          <a:chOff x="0" y="0"/>
          <a:chExt cx="0" cy="0"/>
        </a:xfrm>
      </p:grpSpPr>
      <p:sp>
        <p:nvSpPr>
          <p:cNvPr id="80" name="Title 79">
            <a:extLst>
              <a:ext uri="{FF2B5EF4-FFF2-40B4-BE49-F238E27FC236}">
                <a16:creationId xmlns:a16="http://schemas.microsoft.com/office/drawing/2014/main" id="{02394CBA-755F-42B7-BF28-BDBB599FAAFF}"/>
              </a:ext>
            </a:extLst>
          </p:cNvPr>
          <p:cNvSpPr>
            <a:spLocks noGrp="1"/>
          </p:cNvSpPr>
          <p:nvPr>
            <p:ph type="ctrTitle"/>
          </p:nvPr>
        </p:nvSpPr>
        <p:spPr/>
        <p:txBody>
          <a:bodyPr>
            <a:normAutofit fontScale="90000"/>
          </a:bodyPr>
          <a:lstStyle/>
          <a:p>
            <a:r>
              <a:rPr lang="en-US"/>
              <a:t>CƠ SỞ DỮ LIỆU QUAN HỆ</a:t>
            </a:r>
            <a:endParaRPr lang="en-US" dirty="0"/>
          </a:p>
        </p:txBody>
      </p:sp>
      <p:sp>
        <p:nvSpPr>
          <p:cNvPr id="81" name="Subtitle 80">
            <a:extLst>
              <a:ext uri="{FF2B5EF4-FFF2-40B4-BE49-F238E27FC236}">
                <a16:creationId xmlns:a16="http://schemas.microsoft.com/office/drawing/2014/main" id="{3F9E8A38-46A0-49FF-8F72-481E44F49E38}"/>
              </a:ext>
            </a:extLst>
          </p:cNvPr>
          <p:cNvSpPr>
            <a:spLocks noGrp="1"/>
          </p:cNvSpPr>
          <p:nvPr>
            <p:ph type="subTitle" idx="1"/>
          </p:nvPr>
        </p:nvSpPr>
        <p:spPr>
          <a:xfrm>
            <a:off x="1760765" y="3647349"/>
            <a:ext cx="4024032" cy="771802"/>
          </a:xfrm>
        </p:spPr>
        <p:txBody>
          <a:bodyPr>
            <a:normAutofit/>
          </a:bodyPr>
          <a:lstStyle/>
          <a:p>
            <a:r>
              <a:rPr lang="en-US" sz="3600" b="1"/>
              <a:t>Bài 13</a:t>
            </a:r>
            <a:endParaRPr lang="en-US" sz="3600" b="1" dirty="0"/>
          </a:p>
        </p:txBody>
      </p:sp>
    </p:spTree>
    <p:extLst>
      <p:ext uri="{BB962C8B-B14F-4D97-AF65-F5344CB8AC3E}">
        <p14:creationId xmlns:p14="http://schemas.microsoft.com/office/powerpoint/2010/main" val="88813137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Data_management" descr="{&quot;Key&quot;:&quot;POWER_USER_SHAPE_ICON&quot;,&quot;Value&quot;:&quot;POWER_USER_SHAPE_ICON_STYLE_1&quot;}">
            <a:extLst>
              <a:ext uri="{FF2B5EF4-FFF2-40B4-BE49-F238E27FC236}">
                <a16:creationId xmlns:a16="http://schemas.microsoft.com/office/drawing/2014/main" id="{6BB9BBF5-60FA-411A-878A-0C82559332F7}"/>
              </a:ext>
            </a:extLst>
          </p:cNvPr>
          <p:cNvGrpSpPr>
            <a:grpSpLocks noChangeAspect="1"/>
          </p:cNvGrpSpPr>
          <p:nvPr/>
        </p:nvGrpSpPr>
        <p:grpSpPr>
          <a:xfrm>
            <a:off x="372223" y="314427"/>
            <a:ext cx="1054580" cy="914400"/>
            <a:chOff x="7723188" y="4413251"/>
            <a:chExt cx="776288" cy="673100"/>
          </a:xfrm>
          <a:noFill/>
        </p:grpSpPr>
        <p:sp>
          <p:nvSpPr>
            <p:cNvPr id="21" name="Freeform 425">
              <a:extLst>
                <a:ext uri="{FF2B5EF4-FFF2-40B4-BE49-F238E27FC236}">
                  <a16:creationId xmlns:a16="http://schemas.microsoft.com/office/drawing/2014/main" id="{198E0476-E214-4CE0-9ED5-0DE4A4AC1383}"/>
                </a:ext>
              </a:extLst>
            </p:cNvPr>
            <p:cNvSpPr>
              <a:spLocks/>
            </p:cNvSpPr>
            <p:nvPr/>
          </p:nvSpPr>
          <p:spPr bwMode="auto">
            <a:xfrm>
              <a:off x="7727951" y="4570413"/>
              <a:ext cx="82550" cy="504825"/>
            </a:xfrm>
            <a:custGeom>
              <a:avLst/>
              <a:gdLst>
                <a:gd name="T0" fmla="*/ 65 w 122"/>
                <a:gd name="T1" fmla="*/ 748 h 748"/>
                <a:gd name="T2" fmla="*/ 65 w 122"/>
                <a:gd name="T3" fmla="*/ 748 h 748"/>
                <a:gd name="T4" fmla="*/ 0 w 122"/>
                <a:gd name="T5" fmla="*/ 683 h 748"/>
                <a:gd name="T6" fmla="*/ 0 w 122"/>
                <a:gd name="T7" fmla="*/ 0 h 748"/>
                <a:gd name="T8" fmla="*/ 122 w 122"/>
                <a:gd name="T9" fmla="*/ 0 h 748"/>
                <a:gd name="T10" fmla="*/ 122 w 122"/>
                <a:gd name="T11" fmla="*/ 691 h 748"/>
                <a:gd name="T12" fmla="*/ 65 w 122"/>
                <a:gd name="T13" fmla="*/ 748 h 748"/>
              </a:gdLst>
              <a:ahLst/>
              <a:cxnLst>
                <a:cxn ang="0">
                  <a:pos x="T0" y="T1"/>
                </a:cxn>
                <a:cxn ang="0">
                  <a:pos x="T2" y="T3"/>
                </a:cxn>
                <a:cxn ang="0">
                  <a:pos x="T4" y="T5"/>
                </a:cxn>
                <a:cxn ang="0">
                  <a:pos x="T6" y="T7"/>
                </a:cxn>
                <a:cxn ang="0">
                  <a:pos x="T8" y="T9"/>
                </a:cxn>
                <a:cxn ang="0">
                  <a:pos x="T10" y="T11"/>
                </a:cxn>
                <a:cxn ang="0">
                  <a:pos x="T12" y="T13"/>
                </a:cxn>
              </a:cxnLst>
              <a:rect l="0" t="0" r="r" b="b"/>
              <a:pathLst>
                <a:path w="122" h="748">
                  <a:moveTo>
                    <a:pt x="65" y="748"/>
                  </a:moveTo>
                  <a:lnTo>
                    <a:pt x="65" y="748"/>
                  </a:lnTo>
                  <a:cubicBezTo>
                    <a:pt x="29" y="748"/>
                    <a:pt x="0" y="719"/>
                    <a:pt x="0" y="683"/>
                  </a:cubicBezTo>
                  <a:lnTo>
                    <a:pt x="0" y="0"/>
                  </a:lnTo>
                  <a:lnTo>
                    <a:pt x="122" y="0"/>
                  </a:lnTo>
                  <a:lnTo>
                    <a:pt x="122" y="691"/>
                  </a:lnTo>
                  <a:cubicBezTo>
                    <a:pt x="122" y="722"/>
                    <a:pt x="96" y="748"/>
                    <a:pt x="65" y="748"/>
                  </a:cubicBezTo>
                  <a:close/>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22" name="Freeform 426">
              <a:extLst>
                <a:ext uri="{FF2B5EF4-FFF2-40B4-BE49-F238E27FC236}">
                  <a16:creationId xmlns:a16="http://schemas.microsoft.com/office/drawing/2014/main" id="{BFB6A34D-C9F1-4999-9083-247A0D69150D}"/>
                </a:ext>
              </a:extLst>
            </p:cNvPr>
            <p:cNvSpPr>
              <a:spLocks/>
            </p:cNvSpPr>
            <p:nvPr/>
          </p:nvSpPr>
          <p:spPr bwMode="auto">
            <a:xfrm>
              <a:off x="7872413" y="4418013"/>
              <a:ext cx="563563" cy="165100"/>
            </a:xfrm>
            <a:custGeom>
              <a:avLst/>
              <a:gdLst>
                <a:gd name="T0" fmla="*/ 837 w 837"/>
                <a:gd name="T1" fmla="*/ 243 h 243"/>
                <a:gd name="T2" fmla="*/ 300 w 837"/>
                <a:gd name="T3" fmla="*/ 243 h 243"/>
                <a:gd name="T4" fmla="*/ 230 w 837"/>
                <a:gd name="T5" fmla="*/ 146 h 243"/>
                <a:gd name="T6" fmla="*/ 0 w 837"/>
                <a:gd name="T7" fmla="*/ 146 h 243"/>
                <a:gd name="T8" fmla="*/ 0 w 837"/>
                <a:gd name="T9" fmla="*/ 0 h 243"/>
                <a:gd name="T10" fmla="*/ 837 w 837"/>
                <a:gd name="T11" fmla="*/ 0 h 243"/>
                <a:gd name="T12" fmla="*/ 837 w 837"/>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837" h="243">
                  <a:moveTo>
                    <a:pt x="837" y="243"/>
                  </a:moveTo>
                  <a:lnTo>
                    <a:pt x="300" y="243"/>
                  </a:lnTo>
                  <a:cubicBezTo>
                    <a:pt x="277" y="210"/>
                    <a:pt x="253" y="178"/>
                    <a:pt x="230" y="146"/>
                  </a:cubicBezTo>
                  <a:cubicBezTo>
                    <a:pt x="154" y="146"/>
                    <a:pt x="77" y="146"/>
                    <a:pt x="0" y="146"/>
                  </a:cubicBezTo>
                  <a:lnTo>
                    <a:pt x="0" y="0"/>
                  </a:lnTo>
                  <a:lnTo>
                    <a:pt x="837" y="0"/>
                  </a:lnTo>
                  <a:lnTo>
                    <a:pt x="837" y="243"/>
                  </a:lnTo>
                  <a:close/>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23" name="Freeform 428">
              <a:extLst>
                <a:ext uri="{FF2B5EF4-FFF2-40B4-BE49-F238E27FC236}">
                  <a16:creationId xmlns:a16="http://schemas.microsoft.com/office/drawing/2014/main" id="{37D4F194-A4C2-4F3B-A8F4-990475681CC0}"/>
                </a:ext>
              </a:extLst>
            </p:cNvPr>
            <p:cNvSpPr>
              <a:spLocks/>
            </p:cNvSpPr>
            <p:nvPr/>
          </p:nvSpPr>
          <p:spPr bwMode="auto">
            <a:xfrm>
              <a:off x="8023226" y="4991101"/>
              <a:ext cx="187325" cy="95250"/>
            </a:xfrm>
            <a:custGeom>
              <a:avLst/>
              <a:gdLst>
                <a:gd name="T0" fmla="*/ 0 w 280"/>
                <a:gd name="T1" fmla="*/ 140 h 140"/>
                <a:gd name="T2" fmla="*/ 140 w 280"/>
                <a:gd name="T3" fmla="*/ 0 h 140"/>
                <a:gd name="T4" fmla="*/ 280 w 280"/>
                <a:gd name="T5" fmla="*/ 140 h 140"/>
                <a:gd name="T6" fmla="*/ 0 w 280"/>
                <a:gd name="T7" fmla="*/ 140 h 140"/>
              </a:gdLst>
              <a:ahLst/>
              <a:cxnLst>
                <a:cxn ang="0">
                  <a:pos x="T0" y="T1"/>
                </a:cxn>
                <a:cxn ang="0">
                  <a:pos x="T2" y="T3"/>
                </a:cxn>
                <a:cxn ang="0">
                  <a:pos x="T4" y="T5"/>
                </a:cxn>
                <a:cxn ang="0">
                  <a:pos x="T6" y="T7"/>
                </a:cxn>
              </a:cxnLst>
              <a:rect l="0" t="0" r="r" b="b"/>
              <a:pathLst>
                <a:path w="280" h="140">
                  <a:moveTo>
                    <a:pt x="0" y="140"/>
                  </a:moveTo>
                  <a:cubicBezTo>
                    <a:pt x="0" y="63"/>
                    <a:pt x="62" y="0"/>
                    <a:pt x="140" y="0"/>
                  </a:cubicBezTo>
                  <a:cubicBezTo>
                    <a:pt x="217" y="0"/>
                    <a:pt x="280" y="63"/>
                    <a:pt x="280" y="140"/>
                  </a:cubicBezTo>
                  <a:lnTo>
                    <a:pt x="0" y="140"/>
                  </a:lnTo>
                  <a:close/>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24" name="Freeform 429">
              <a:extLst>
                <a:ext uri="{FF2B5EF4-FFF2-40B4-BE49-F238E27FC236}">
                  <a16:creationId xmlns:a16="http://schemas.microsoft.com/office/drawing/2014/main" id="{823E2E77-C4FC-4DE8-982D-30F7CF7C0702}"/>
                </a:ext>
              </a:extLst>
            </p:cNvPr>
            <p:cNvSpPr>
              <a:spLocks/>
            </p:cNvSpPr>
            <p:nvPr/>
          </p:nvSpPr>
          <p:spPr bwMode="auto">
            <a:xfrm>
              <a:off x="7907338" y="4876801"/>
              <a:ext cx="417513" cy="209550"/>
            </a:xfrm>
            <a:custGeom>
              <a:avLst/>
              <a:gdLst>
                <a:gd name="T0" fmla="*/ 619 w 619"/>
                <a:gd name="T1" fmla="*/ 310 h 310"/>
                <a:gd name="T2" fmla="*/ 619 w 619"/>
                <a:gd name="T3" fmla="*/ 275 h 310"/>
                <a:gd name="T4" fmla="*/ 592 w 619"/>
                <a:gd name="T5" fmla="*/ 248 h 310"/>
                <a:gd name="T6" fmla="*/ 573 w 619"/>
                <a:gd name="T7" fmla="*/ 248 h 310"/>
                <a:gd name="T8" fmla="*/ 544 w 619"/>
                <a:gd name="T9" fmla="*/ 227 h 310"/>
                <a:gd name="T10" fmla="*/ 533 w 619"/>
                <a:gd name="T11" fmla="*/ 202 h 310"/>
                <a:gd name="T12" fmla="*/ 539 w 619"/>
                <a:gd name="T13" fmla="*/ 169 h 310"/>
                <a:gd name="T14" fmla="*/ 552 w 619"/>
                <a:gd name="T15" fmla="*/ 156 h 310"/>
                <a:gd name="T16" fmla="*/ 554 w 619"/>
                <a:gd name="T17" fmla="*/ 116 h 310"/>
                <a:gd name="T18" fmla="*/ 504 w 619"/>
                <a:gd name="T19" fmla="*/ 66 h 310"/>
                <a:gd name="T20" fmla="*/ 465 w 619"/>
                <a:gd name="T21" fmla="*/ 66 h 310"/>
                <a:gd name="T22" fmla="*/ 452 w 619"/>
                <a:gd name="T23" fmla="*/ 80 h 310"/>
                <a:gd name="T24" fmla="*/ 417 w 619"/>
                <a:gd name="T25" fmla="*/ 86 h 310"/>
                <a:gd name="T26" fmla="*/ 392 w 619"/>
                <a:gd name="T27" fmla="*/ 76 h 310"/>
                <a:gd name="T28" fmla="*/ 372 w 619"/>
                <a:gd name="T29" fmla="*/ 47 h 310"/>
                <a:gd name="T30" fmla="*/ 372 w 619"/>
                <a:gd name="T31" fmla="*/ 28 h 310"/>
                <a:gd name="T32" fmla="*/ 345 w 619"/>
                <a:gd name="T33" fmla="*/ 0 h 310"/>
                <a:gd name="T34" fmla="*/ 275 w 619"/>
                <a:gd name="T35" fmla="*/ 0 h 310"/>
                <a:gd name="T36" fmla="*/ 247 w 619"/>
                <a:gd name="T37" fmla="*/ 28 h 310"/>
                <a:gd name="T38" fmla="*/ 247 w 619"/>
                <a:gd name="T39" fmla="*/ 47 h 310"/>
                <a:gd name="T40" fmla="*/ 227 w 619"/>
                <a:gd name="T41" fmla="*/ 76 h 310"/>
                <a:gd name="T42" fmla="*/ 202 w 619"/>
                <a:gd name="T43" fmla="*/ 86 h 310"/>
                <a:gd name="T44" fmla="*/ 169 w 619"/>
                <a:gd name="T45" fmla="*/ 81 h 310"/>
                <a:gd name="T46" fmla="*/ 156 w 619"/>
                <a:gd name="T47" fmla="*/ 68 h 310"/>
                <a:gd name="T48" fmla="*/ 116 w 619"/>
                <a:gd name="T49" fmla="*/ 66 h 310"/>
                <a:gd name="T50" fmla="*/ 66 w 619"/>
                <a:gd name="T51" fmla="*/ 116 h 310"/>
                <a:gd name="T52" fmla="*/ 66 w 619"/>
                <a:gd name="T53" fmla="*/ 154 h 310"/>
                <a:gd name="T54" fmla="*/ 80 w 619"/>
                <a:gd name="T55" fmla="*/ 168 h 310"/>
                <a:gd name="T56" fmla="*/ 86 w 619"/>
                <a:gd name="T57" fmla="*/ 203 h 310"/>
                <a:gd name="T58" fmla="*/ 76 w 619"/>
                <a:gd name="T59" fmla="*/ 228 h 310"/>
                <a:gd name="T60" fmla="*/ 48 w 619"/>
                <a:gd name="T61" fmla="*/ 248 h 310"/>
                <a:gd name="T62" fmla="*/ 30 w 619"/>
                <a:gd name="T63" fmla="*/ 248 h 310"/>
                <a:gd name="T64" fmla="*/ 0 w 619"/>
                <a:gd name="T65" fmla="*/ 275 h 310"/>
                <a:gd name="T66" fmla="*/ 0 w 619"/>
                <a:gd name="T6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9" h="310">
                  <a:moveTo>
                    <a:pt x="619" y="310"/>
                  </a:moveTo>
                  <a:lnTo>
                    <a:pt x="619" y="275"/>
                  </a:lnTo>
                  <a:cubicBezTo>
                    <a:pt x="619" y="260"/>
                    <a:pt x="607" y="248"/>
                    <a:pt x="592" y="248"/>
                  </a:cubicBezTo>
                  <a:lnTo>
                    <a:pt x="573" y="248"/>
                  </a:lnTo>
                  <a:cubicBezTo>
                    <a:pt x="560" y="248"/>
                    <a:pt x="548" y="240"/>
                    <a:pt x="544" y="227"/>
                  </a:cubicBezTo>
                  <a:cubicBezTo>
                    <a:pt x="541" y="219"/>
                    <a:pt x="537" y="210"/>
                    <a:pt x="533" y="202"/>
                  </a:cubicBezTo>
                  <a:cubicBezTo>
                    <a:pt x="528" y="191"/>
                    <a:pt x="530" y="178"/>
                    <a:pt x="539" y="169"/>
                  </a:cubicBezTo>
                  <a:lnTo>
                    <a:pt x="552" y="156"/>
                  </a:lnTo>
                  <a:cubicBezTo>
                    <a:pt x="564" y="144"/>
                    <a:pt x="564" y="127"/>
                    <a:pt x="554" y="116"/>
                  </a:cubicBezTo>
                  <a:lnTo>
                    <a:pt x="504" y="66"/>
                  </a:lnTo>
                  <a:cubicBezTo>
                    <a:pt x="493" y="56"/>
                    <a:pt x="476" y="56"/>
                    <a:pt x="465" y="66"/>
                  </a:cubicBezTo>
                  <a:lnTo>
                    <a:pt x="452" y="80"/>
                  </a:lnTo>
                  <a:cubicBezTo>
                    <a:pt x="442" y="89"/>
                    <a:pt x="429" y="92"/>
                    <a:pt x="417" y="86"/>
                  </a:cubicBezTo>
                  <a:cubicBezTo>
                    <a:pt x="409" y="82"/>
                    <a:pt x="401" y="79"/>
                    <a:pt x="392" y="76"/>
                  </a:cubicBezTo>
                  <a:cubicBezTo>
                    <a:pt x="380" y="72"/>
                    <a:pt x="372" y="60"/>
                    <a:pt x="372" y="47"/>
                  </a:cubicBezTo>
                  <a:lnTo>
                    <a:pt x="372" y="28"/>
                  </a:lnTo>
                  <a:cubicBezTo>
                    <a:pt x="372" y="13"/>
                    <a:pt x="360" y="0"/>
                    <a:pt x="345" y="0"/>
                  </a:cubicBezTo>
                  <a:lnTo>
                    <a:pt x="275" y="0"/>
                  </a:lnTo>
                  <a:cubicBezTo>
                    <a:pt x="260" y="0"/>
                    <a:pt x="247" y="13"/>
                    <a:pt x="247" y="28"/>
                  </a:cubicBezTo>
                  <a:lnTo>
                    <a:pt x="247" y="47"/>
                  </a:lnTo>
                  <a:cubicBezTo>
                    <a:pt x="247" y="60"/>
                    <a:pt x="239" y="72"/>
                    <a:pt x="227" y="76"/>
                  </a:cubicBezTo>
                  <a:cubicBezTo>
                    <a:pt x="219" y="79"/>
                    <a:pt x="210" y="83"/>
                    <a:pt x="202" y="86"/>
                  </a:cubicBezTo>
                  <a:cubicBezTo>
                    <a:pt x="191" y="92"/>
                    <a:pt x="177" y="89"/>
                    <a:pt x="169" y="81"/>
                  </a:cubicBezTo>
                  <a:lnTo>
                    <a:pt x="156" y="68"/>
                  </a:lnTo>
                  <a:cubicBezTo>
                    <a:pt x="144" y="56"/>
                    <a:pt x="126" y="56"/>
                    <a:pt x="116" y="66"/>
                  </a:cubicBezTo>
                  <a:lnTo>
                    <a:pt x="66" y="116"/>
                  </a:lnTo>
                  <a:cubicBezTo>
                    <a:pt x="55" y="127"/>
                    <a:pt x="55" y="144"/>
                    <a:pt x="66" y="154"/>
                  </a:cubicBezTo>
                  <a:lnTo>
                    <a:pt x="80" y="168"/>
                  </a:lnTo>
                  <a:cubicBezTo>
                    <a:pt x="89" y="177"/>
                    <a:pt x="92" y="191"/>
                    <a:pt x="86" y="203"/>
                  </a:cubicBezTo>
                  <a:cubicBezTo>
                    <a:pt x="82" y="211"/>
                    <a:pt x="79" y="220"/>
                    <a:pt x="76" y="228"/>
                  </a:cubicBezTo>
                  <a:cubicBezTo>
                    <a:pt x="72" y="240"/>
                    <a:pt x="60" y="248"/>
                    <a:pt x="48" y="248"/>
                  </a:cubicBezTo>
                  <a:lnTo>
                    <a:pt x="30" y="248"/>
                  </a:lnTo>
                  <a:cubicBezTo>
                    <a:pt x="12" y="248"/>
                    <a:pt x="0" y="260"/>
                    <a:pt x="0" y="275"/>
                  </a:cubicBezTo>
                  <a:lnTo>
                    <a:pt x="0" y="310"/>
                  </a:lnTo>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25" name="Freeform 430">
              <a:extLst>
                <a:ext uri="{FF2B5EF4-FFF2-40B4-BE49-F238E27FC236}">
                  <a16:creationId xmlns:a16="http://schemas.microsoft.com/office/drawing/2014/main" id="{E957058D-9082-447B-9A1D-69CC91042D90}"/>
                </a:ext>
              </a:extLst>
            </p:cNvPr>
            <p:cNvSpPr>
              <a:spLocks/>
            </p:cNvSpPr>
            <p:nvPr/>
          </p:nvSpPr>
          <p:spPr bwMode="auto">
            <a:xfrm>
              <a:off x="8023226" y="4991101"/>
              <a:ext cx="187325" cy="95250"/>
            </a:xfrm>
            <a:custGeom>
              <a:avLst/>
              <a:gdLst>
                <a:gd name="T0" fmla="*/ 0 w 280"/>
                <a:gd name="T1" fmla="*/ 140 h 140"/>
                <a:gd name="T2" fmla="*/ 140 w 280"/>
                <a:gd name="T3" fmla="*/ 0 h 140"/>
                <a:gd name="T4" fmla="*/ 280 w 280"/>
                <a:gd name="T5" fmla="*/ 140 h 140"/>
                <a:gd name="T6" fmla="*/ 0 w 280"/>
                <a:gd name="T7" fmla="*/ 140 h 140"/>
              </a:gdLst>
              <a:ahLst/>
              <a:cxnLst>
                <a:cxn ang="0">
                  <a:pos x="T0" y="T1"/>
                </a:cxn>
                <a:cxn ang="0">
                  <a:pos x="T2" y="T3"/>
                </a:cxn>
                <a:cxn ang="0">
                  <a:pos x="T4" y="T5"/>
                </a:cxn>
                <a:cxn ang="0">
                  <a:pos x="T6" y="T7"/>
                </a:cxn>
              </a:cxnLst>
              <a:rect l="0" t="0" r="r" b="b"/>
              <a:pathLst>
                <a:path w="280" h="140">
                  <a:moveTo>
                    <a:pt x="0" y="140"/>
                  </a:moveTo>
                  <a:cubicBezTo>
                    <a:pt x="0" y="63"/>
                    <a:pt x="62" y="0"/>
                    <a:pt x="140" y="0"/>
                  </a:cubicBezTo>
                  <a:cubicBezTo>
                    <a:pt x="217" y="0"/>
                    <a:pt x="280" y="63"/>
                    <a:pt x="280" y="140"/>
                  </a:cubicBezTo>
                  <a:lnTo>
                    <a:pt x="0" y="140"/>
                  </a:lnTo>
                  <a:close/>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26" name="Freeform 431">
              <a:extLst>
                <a:ext uri="{FF2B5EF4-FFF2-40B4-BE49-F238E27FC236}">
                  <a16:creationId xmlns:a16="http://schemas.microsoft.com/office/drawing/2014/main" id="{E8696035-1BA6-4BE2-B07F-9806A80461CD}"/>
                </a:ext>
              </a:extLst>
            </p:cNvPr>
            <p:cNvSpPr>
              <a:spLocks/>
            </p:cNvSpPr>
            <p:nvPr/>
          </p:nvSpPr>
          <p:spPr bwMode="auto">
            <a:xfrm>
              <a:off x="8291513" y="4643438"/>
              <a:ext cx="207963" cy="419100"/>
            </a:xfrm>
            <a:custGeom>
              <a:avLst/>
              <a:gdLst>
                <a:gd name="T0" fmla="*/ 309 w 309"/>
                <a:gd name="T1" fmla="*/ 0 h 619"/>
                <a:gd name="T2" fmla="*/ 274 w 309"/>
                <a:gd name="T3" fmla="*/ 0 h 619"/>
                <a:gd name="T4" fmla="*/ 247 w 309"/>
                <a:gd name="T5" fmla="*/ 27 h 619"/>
                <a:gd name="T6" fmla="*/ 247 w 309"/>
                <a:gd name="T7" fmla="*/ 47 h 619"/>
                <a:gd name="T8" fmla="*/ 227 w 309"/>
                <a:gd name="T9" fmla="*/ 76 h 619"/>
                <a:gd name="T10" fmla="*/ 201 w 309"/>
                <a:gd name="T11" fmla="*/ 86 h 619"/>
                <a:gd name="T12" fmla="*/ 168 w 309"/>
                <a:gd name="T13" fmla="*/ 80 h 619"/>
                <a:gd name="T14" fmla="*/ 156 w 309"/>
                <a:gd name="T15" fmla="*/ 68 h 619"/>
                <a:gd name="T16" fmla="*/ 115 w 309"/>
                <a:gd name="T17" fmla="*/ 66 h 619"/>
                <a:gd name="T18" fmla="*/ 66 w 309"/>
                <a:gd name="T19" fmla="*/ 116 h 619"/>
                <a:gd name="T20" fmla="*/ 66 w 309"/>
                <a:gd name="T21" fmla="*/ 154 h 619"/>
                <a:gd name="T22" fmla="*/ 79 w 309"/>
                <a:gd name="T23" fmla="*/ 168 h 619"/>
                <a:gd name="T24" fmla="*/ 85 w 309"/>
                <a:gd name="T25" fmla="*/ 203 h 619"/>
                <a:gd name="T26" fmla="*/ 75 w 309"/>
                <a:gd name="T27" fmla="*/ 227 h 619"/>
                <a:gd name="T28" fmla="*/ 46 w 309"/>
                <a:gd name="T29" fmla="*/ 247 h 619"/>
                <a:gd name="T30" fmla="*/ 27 w 309"/>
                <a:gd name="T31" fmla="*/ 247 h 619"/>
                <a:gd name="T32" fmla="*/ 0 w 309"/>
                <a:gd name="T33" fmla="*/ 274 h 619"/>
                <a:gd name="T34" fmla="*/ 0 w 309"/>
                <a:gd name="T35" fmla="*/ 345 h 619"/>
                <a:gd name="T36" fmla="*/ 27 w 309"/>
                <a:gd name="T37" fmla="*/ 372 h 619"/>
                <a:gd name="T38" fmla="*/ 46 w 309"/>
                <a:gd name="T39" fmla="*/ 372 h 619"/>
                <a:gd name="T40" fmla="*/ 75 w 309"/>
                <a:gd name="T41" fmla="*/ 392 h 619"/>
                <a:gd name="T42" fmla="*/ 86 w 309"/>
                <a:gd name="T43" fmla="*/ 418 h 619"/>
                <a:gd name="T44" fmla="*/ 80 w 309"/>
                <a:gd name="T45" fmla="*/ 451 h 619"/>
                <a:gd name="T46" fmla="*/ 67 w 309"/>
                <a:gd name="T47" fmla="*/ 463 h 619"/>
                <a:gd name="T48" fmla="*/ 66 w 309"/>
                <a:gd name="T49" fmla="*/ 504 h 619"/>
                <a:gd name="T50" fmla="*/ 115 w 309"/>
                <a:gd name="T51" fmla="*/ 553 h 619"/>
                <a:gd name="T52" fmla="*/ 154 w 309"/>
                <a:gd name="T53" fmla="*/ 553 h 619"/>
                <a:gd name="T54" fmla="*/ 167 w 309"/>
                <a:gd name="T55" fmla="*/ 540 h 619"/>
                <a:gd name="T56" fmla="*/ 202 w 309"/>
                <a:gd name="T57" fmla="*/ 533 h 619"/>
                <a:gd name="T58" fmla="*/ 228 w 309"/>
                <a:gd name="T59" fmla="*/ 544 h 619"/>
                <a:gd name="T60" fmla="*/ 247 w 309"/>
                <a:gd name="T61" fmla="*/ 572 h 619"/>
                <a:gd name="T62" fmla="*/ 247 w 309"/>
                <a:gd name="T63" fmla="*/ 589 h 619"/>
                <a:gd name="T64" fmla="*/ 274 w 309"/>
                <a:gd name="T65" fmla="*/ 619 h 619"/>
                <a:gd name="T66" fmla="*/ 309 w 309"/>
                <a:gd name="T67" fmla="*/ 619 h 619"/>
                <a:gd name="T68" fmla="*/ 309 w 309"/>
                <a:gd name="T69"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9" h="619">
                  <a:moveTo>
                    <a:pt x="309" y="0"/>
                  </a:moveTo>
                  <a:lnTo>
                    <a:pt x="274" y="0"/>
                  </a:lnTo>
                  <a:cubicBezTo>
                    <a:pt x="259" y="0"/>
                    <a:pt x="247" y="12"/>
                    <a:pt x="247" y="27"/>
                  </a:cubicBezTo>
                  <a:lnTo>
                    <a:pt x="247" y="47"/>
                  </a:lnTo>
                  <a:cubicBezTo>
                    <a:pt x="247" y="60"/>
                    <a:pt x="239" y="71"/>
                    <a:pt x="227" y="76"/>
                  </a:cubicBezTo>
                  <a:cubicBezTo>
                    <a:pt x="218" y="79"/>
                    <a:pt x="210" y="82"/>
                    <a:pt x="201" y="86"/>
                  </a:cubicBezTo>
                  <a:cubicBezTo>
                    <a:pt x="190" y="92"/>
                    <a:pt x="177" y="89"/>
                    <a:pt x="168" y="80"/>
                  </a:cubicBezTo>
                  <a:lnTo>
                    <a:pt x="156" y="68"/>
                  </a:lnTo>
                  <a:cubicBezTo>
                    <a:pt x="143" y="55"/>
                    <a:pt x="126" y="55"/>
                    <a:pt x="115" y="66"/>
                  </a:cubicBezTo>
                  <a:lnTo>
                    <a:pt x="66" y="116"/>
                  </a:lnTo>
                  <a:cubicBezTo>
                    <a:pt x="55" y="126"/>
                    <a:pt x="55" y="143"/>
                    <a:pt x="66" y="154"/>
                  </a:cubicBezTo>
                  <a:lnTo>
                    <a:pt x="79" y="168"/>
                  </a:lnTo>
                  <a:cubicBezTo>
                    <a:pt x="88" y="177"/>
                    <a:pt x="91" y="191"/>
                    <a:pt x="85" y="203"/>
                  </a:cubicBezTo>
                  <a:cubicBezTo>
                    <a:pt x="82" y="211"/>
                    <a:pt x="78" y="219"/>
                    <a:pt x="75" y="227"/>
                  </a:cubicBezTo>
                  <a:cubicBezTo>
                    <a:pt x="71" y="239"/>
                    <a:pt x="59" y="247"/>
                    <a:pt x="46" y="247"/>
                  </a:cubicBezTo>
                  <a:lnTo>
                    <a:pt x="27" y="247"/>
                  </a:lnTo>
                  <a:cubicBezTo>
                    <a:pt x="12" y="247"/>
                    <a:pt x="0" y="259"/>
                    <a:pt x="0" y="274"/>
                  </a:cubicBezTo>
                  <a:lnTo>
                    <a:pt x="0" y="345"/>
                  </a:lnTo>
                  <a:cubicBezTo>
                    <a:pt x="0" y="360"/>
                    <a:pt x="12" y="372"/>
                    <a:pt x="27" y="372"/>
                  </a:cubicBezTo>
                  <a:lnTo>
                    <a:pt x="46" y="372"/>
                  </a:lnTo>
                  <a:cubicBezTo>
                    <a:pt x="59" y="372"/>
                    <a:pt x="71" y="380"/>
                    <a:pt x="75" y="392"/>
                  </a:cubicBezTo>
                  <a:cubicBezTo>
                    <a:pt x="78" y="401"/>
                    <a:pt x="82" y="409"/>
                    <a:pt x="86" y="418"/>
                  </a:cubicBezTo>
                  <a:cubicBezTo>
                    <a:pt x="91" y="429"/>
                    <a:pt x="89" y="442"/>
                    <a:pt x="80" y="451"/>
                  </a:cubicBezTo>
                  <a:lnTo>
                    <a:pt x="67" y="463"/>
                  </a:lnTo>
                  <a:cubicBezTo>
                    <a:pt x="55" y="476"/>
                    <a:pt x="55" y="493"/>
                    <a:pt x="66" y="504"/>
                  </a:cubicBezTo>
                  <a:lnTo>
                    <a:pt x="115" y="553"/>
                  </a:lnTo>
                  <a:cubicBezTo>
                    <a:pt x="126" y="564"/>
                    <a:pt x="143" y="564"/>
                    <a:pt x="154" y="553"/>
                  </a:cubicBezTo>
                  <a:lnTo>
                    <a:pt x="167" y="540"/>
                  </a:lnTo>
                  <a:cubicBezTo>
                    <a:pt x="177" y="531"/>
                    <a:pt x="191" y="528"/>
                    <a:pt x="202" y="533"/>
                  </a:cubicBezTo>
                  <a:cubicBezTo>
                    <a:pt x="211" y="537"/>
                    <a:pt x="219" y="541"/>
                    <a:pt x="228" y="544"/>
                  </a:cubicBezTo>
                  <a:cubicBezTo>
                    <a:pt x="239" y="548"/>
                    <a:pt x="247" y="559"/>
                    <a:pt x="247" y="572"/>
                  </a:cubicBezTo>
                  <a:lnTo>
                    <a:pt x="247" y="589"/>
                  </a:lnTo>
                  <a:cubicBezTo>
                    <a:pt x="247" y="607"/>
                    <a:pt x="259" y="619"/>
                    <a:pt x="274" y="619"/>
                  </a:cubicBezTo>
                  <a:lnTo>
                    <a:pt x="309" y="619"/>
                  </a:lnTo>
                  <a:lnTo>
                    <a:pt x="309" y="0"/>
                  </a:lnTo>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27" name="Freeform 432">
              <a:extLst>
                <a:ext uri="{FF2B5EF4-FFF2-40B4-BE49-F238E27FC236}">
                  <a16:creationId xmlns:a16="http://schemas.microsoft.com/office/drawing/2014/main" id="{A439493F-8AA2-4AA4-A27E-D91F436FF004}"/>
                </a:ext>
              </a:extLst>
            </p:cNvPr>
            <p:cNvSpPr>
              <a:spLocks/>
            </p:cNvSpPr>
            <p:nvPr/>
          </p:nvSpPr>
          <p:spPr bwMode="auto">
            <a:xfrm>
              <a:off x="8404226" y="4759326"/>
              <a:ext cx="95250" cy="188913"/>
            </a:xfrm>
            <a:custGeom>
              <a:avLst/>
              <a:gdLst>
                <a:gd name="T0" fmla="*/ 140 w 140"/>
                <a:gd name="T1" fmla="*/ 280 h 280"/>
                <a:gd name="T2" fmla="*/ 0 w 140"/>
                <a:gd name="T3" fmla="*/ 140 h 280"/>
                <a:gd name="T4" fmla="*/ 140 w 140"/>
                <a:gd name="T5" fmla="*/ 0 h 280"/>
                <a:gd name="T6" fmla="*/ 140 w 140"/>
                <a:gd name="T7" fmla="*/ 280 h 280"/>
              </a:gdLst>
              <a:ahLst/>
              <a:cxnLst>
                <a:cxn ang="0">
                  <a:pos x="T0" y="T1"/>
                </a:cxn>
                <a:cxn ang="0">
                  <a:pos x="T2" y="T3"/>
                </a:cxn>
                <a:cxn ang="0">
                  <a:pos x="T4" y="T5"/>
                </a:cxn>
                <a:cxn ang="0">
                  <a:pos x="T6" y="T7"/>
                </a:cxn>
              </a:cxnLst>
              <a:rect l="0" t="0" r="r" b="b"/>
              <a:pathLst>
                <a:path w="140" h="280">
                  <a:moveTo>
                    <a:pt x="140" y="280"/>
                  </a:moveTo>
                  <a:cubicBezTo>
                    <a:pt x="63" y="280"/>
                    <a:pt x="0" y="217"/>
                    <a:pt x="0" y="140"/>
                  </a:cubicBezTo>
                  <a:cubicBezTo>
                    <a:pt x="0" y="62"/>
                    <a:pt x="63" y="0"/>
                    <a:pt x="140" y="0"/>
                  </a:cubicBezTo>
                  <a:lnTo>
                    <a:pt x="140" y="280"/>
                  </a:lnTo>
                  <a:close/>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28" name="Freeform 433">
              <a:extLst>
                <a:ext uri="{FF2B5EF4-FFF2-40B4-BE49-F238E27FC236}">
                  <a16:creationId xmlns:a16="http://schemas.microsoft.com/office/drawing/2014/main" id="{FACB9406-7537-46A7-AA1B-DB5FC7AB235F}"/>
                </a:ext>
              </a:extLst>
            </p:cNvPr>
            <p:cNvSpPr>
              <a:spLocks/>
            </p:cNvSpPr>
            <p:nvPr/>
          </p:nvSpPr>
          <p:spPr bwMode="auto">
            <a:xfrm>
              <a:off x="8399463" y="4752976"/>
              <a:ext cx="100013" cy="200025"/>
            </a:xfrm>
            <a:custGeom>
              <a:avLst/>
              <a:gdLst>
                <a:gd name="T0" fmla="*/ 148 w 148"/>
                <a:gd name="T1" fmla="*/ 297 h 297"/>
                <a:gd name="T2" fmla="*/ 0 w 148"/>
                <a:gd name="T3" fmla="*/ 149 h 297"/>
                <a:gd name="T4" fmla="*/ 148 w 148"/>
                <a:gd name="T5" fmla="*/ 0 h 297"/>
                <a:gd name="T6" fmla="*/ 148 w 148"/>
                <a:gd name="T7" fmla="*/ 17 h 297"/>
                <a:gd name="T8" fmla="*/ 17 w 148"/>
                <a:gd name="T9" fmla="*/ 149 h 297"/>
                <a:gd name="T10" fmla="*/ 148 w 148"/>
                <a:gd name="T11" fmla="*/ 280 h 297"/>
                <a:gd name="T12" fmla="*/ 148 w 148"/>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48" h="297">
                  <a:moveTo>
                    <a:pt x="148" y="297"/>
                  </a:moveTo>
                  <a:cubicBezTo>
                    <a:pt x="66" y="297"/>
                    <a:pt x="0" y="230"/>
                    <a:pt x="0" y="149"/>
                  </a:cubicBezTo>
                  <a:cubicBezTo>
                    <a:pt x="0" y="67"/>
                    <a:pt x="66" y="0"/>
                    <a:pt x="148" y="0"/>
                  </a:cubicBezTo>
                  <a:lnTo>
                    <a:pt x="148" y="17"/>
                  </a:lnTo>
                  <a:cubicBezTo>
                    <a:pt x="76" y="17"/>
                    <a:pt x="17" y="76"/>
                    <a:pt x="17" y="149"/>
                  </a:cubicBezTo>
                  <a:cubicBezTo>
                    <a:pt x="17" y="221"/>
                    <a:pt x="76" y="280"/>
                    <a:pt x="148" y="280"/>
                  </a:cubicBezTo>
                  <a:lnTo>
                    <a:pt x="148" y="297"/>
                  </a:lnTo>
                  <a:close/>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29" name="Freeform 434">
              <a:extLst>
                <a:ext uri="{FF2B5EF4-FFF2-40B4-BE49-F238E27FC236}">
                  <a16:creationId xmlns:a16="http://schemas.microsoft.com/office/drawing/2014/main" id="{3865481B-FDCE-4572-B937-DD8B3F7B0149}"/>
                </a:ext>
              </a:extLst>
            </p:cNvPr>
            <p:cNvSpPr>
              <a:spLocks/>
            </p:cNvSpPr>
            <p:nvPr/>
          </p:nvSpPr>
          <p:spPr bwMode="auto">
            <a:xfrm>
              <a:off x="8285163" y="4638676"/>
              <a:ext cx="214313" cy="430213"/>
            </a:xfrm>
            <a:custGeom>
              <a:avLst/>
              <a:gdLst>
                <a:gd name="T0" fmla="*/ 283 w 318"/>
                <a:gd name="T1" fmla="*/ 636 h 636"/>
                <a:gd name="T2" fmla="*/ 248 w 318"/>
                <a:gd name="T3" fmla="*/ 580 h 636"/>
                <a:gd name="T4" fmla="*/ 208 w 318"/>
                <a:gd name="T5" fmla="*/ 549 h 636"/>
                <a:gd name="T6" fmla="*/ 169 w 318"/>
                <a:gd name="T7" fmla="*/ 567 h 636"/>
                <a:gd name="T8" fmla="*/ 69 w 318"/>
                <a:gd name="T9" fmla="*/ 518 h 636"/>
                <a:gd name="T10" fmla="*/ 83 w 318"/>
                <a:gd name="T11" fmla="*/ 453 h 636"/>
                <a:gd name="T12" fmla="*/ 77 w 318"/>
                <a:gd name="T13" fmla="*/ 403 h 636"/>
                <a:gd name="T14" fmla="*/ 36 w 318"/>
                <a:gd name="T15" fmla="*/ 388 h 636"/>
                <a:gd name="T16" fmla="*/ 0 w 318"/>
                <a:gd name="T17" fmla="*/ 282 h 636"/>
                <a:gd name="T18" fmla="*/ 55 w 318"/>
                <a:gd name="T19" fmla="*/ 247 h 636"/>
                <a:gd name="T20" fmla="*/ 87 w 318"/>
                <a:gd name="T21" fmla="*/ 207 h 636"/>
                <a:gd name="T22" fmla="*/ 69 w 318"/>
                <a:gd name="T23" fmla="*/ 168 h 636"/>
                <a:gd name="T24" fmla="*/ 69 w 318"/>
                <a:gd name="T25" fmla="*/ 118 h 636"/>
                <a:gd name="T26" fmla="*/ 144 w 318"/>
                <a:gd name="T27" fmla="*/ 58 h 636"/>
                <a:gd name="T28" fmla="*/ 183 w 318"/>
                <a:gd name="T29" fmla="*/ 82 h 636"/>
                <a:gd name="T30" fmla="*/ 233 w 318"/>
                <a:gd name="T31" fmla="*/ 76 h 636"/>
                <a:gd name="T32" fmla="*/ 248 w 318"/>
                <a:gd name="T33" fmla="*/ 35 h 636"/>
                <a:gd name="T34" fmla="*/ 318 w 318"/>
                <a:gd name="T35" fmla="*/ 0 h 636"/>
                <a:gd name="T36" fmla="*/ 283 w 318"/>
                <a:gd name="T37" fmla="*/ 16 h 636"/>
                <a:gd name="T38" fmla="*/ 264 w 318"/>
                <a:gd name="T39" fmla="*/ 55 h 636"/>
                <a:gd name="T40" fmla="*/ 214 w 318"/>
                <a:gd name="T41" fmla="*/ 102 h 636"/>
                <a:gd name="T42" fmla="*/ 159 w 318"/>
                <a:gd name="T43" fmla="*/ 82 h 636"/>
                <a:gd name="T44" fmla="*/ 130 w 318"/>
                <a:gd name="T45" fmla="*/ 80 h 636"/>
                <a:gd name="T46" fmla="*/ 75 w 318"/>
                <a:gd name="T47" fmla="*/ 143 h 636"/>
                <a:gd name="T48" fmla="*/ 94 w 318"/>
                <a:gd name="T49" fmla="*/ 170 h 636"/>
                <a:gd name="T50" fmla="*/ 92 w 318"/>
                <a:gd name="T51" fmla="*/ 238 h 636"/>
                <a:gd name="T52" fmla="*/ 36 w 318"/>
                <a:gd name="T53" fmla="*/ 264 h 636"/>
                <a:gd name="T54" fmla="*/ 17 w 318"/>
                <a:gd name="T55" fmla="*/ 353 h 636"/>
                <a:gd name="T56" fmla="*/ 55 w 318"/>
                <a:gd name="T57" fmla="*/ 372 h 636"/>
                <a:gd name="T58" fmla="*/ 102 w 318"/>
                <a:gd name="T59" fmla="*/ 422 h 636"/>
                <a:gd name="T60" fmla="*/ 82 w 318"/>
                <a:gd name="T61" fmla="*/ 477 h 636"/>
                <a:gd name="T62" fmla="*/ 130 w 318"/>
                <a:gd name="T63" fmla="*/ 556 h 636"/>
                <a:gd name="T64" fmla="*/ 171 w 318"/>
                <a:gd name="T65" fmla="*/ 542 h 636"/>
                <a:gd name="T66" fmla="*/ 239 w 318"/>
                <a:gd name="T67" fmla="*/ 544 h 636"/>
                <a:gd name="T68" fmla="*/ 264 w 318"/>
                <a:gd name="T69" fmla="*/ 597 h 636"/>
                <a:gd name="T70" fmla="*/ 318 w 318"/>
                <a:gd name="T71" fmla="*/ 61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636">
                  <a:moveTo>
                    <a:pt x="318" y="636"/>
                  </a:moveTo>
                  <a:lnTo>
                    <a:pt x="283" y="636"/>
                  </a:lnTo>
                  <a:cubicBezTo>
                    <a:pt x="263" y="636"/>
                    <a:pt x="248" y="619"/>
                    <a:pt x="248" y="597"/>
                  </a:cubicBezTo>
                  <a:lnTo>
                    <a:pt x="248" y="580"/>
                  </a:lnTo>
                  <a:cubicBezTo>
                    <a:pt x="248" y="571"/>
                    <a:pt x="242" y="563"/>
                    <a:pt x="234" y="560"/>
                  </a:cubicBezTo>
                  <a:cubicBezTo>
                    <a:pt x="225" y="557"/>
                    <a:pt x="216" y="553"/>
                    <a:pt x="208" y="549"/>
                  </a:cubicBezTo>
                  <a:cubicBezTo>
                    <a:pt x="199" y="545"/>
                    <a:pt x="189" y="547"/>
                    <a:pt x="182" y="554"/>
                  </a:cubicBezTo>
                  <a:lnTo>
                    <a:pt x="169" y="567"/>
                  </a:lnTo>
                  <a:cubicBezTo>
                    <a:pt x="155" y="581"/>
                    <a:pt x="132" y="581"/>
                    <a:pt x="118" y="567"/>
                  </a:cubicBezTo>
                  <a:lnTo>
                    <a:pt x="69" y="518"/>
                  </a:lnTo>
                  <a:cubicBezTo>
                    <a:pt x="54" y="503"/>
                    <a:pt x="55" y="481"/>
                    <a:pt x="71" y="465"/>
                  </a:cubicBezTo>
                  <a:lnTo>
                    <a:pt x="83" y="453"/>
                  </a:lnTo>
                  <a:cubicBezTo>
                    <a:pt x="89" y="447"/>
                    <a:pt x="91" y="437"/>
                    <a:pt x="87" y="429"/>
                  </a:cubicBezTo>
                  <a:cubicBezTo>
                    <a:pt x="83" y="421"/>
                    <a:pt x="80" y="412"/>
                    <a:pt x="77" y="403"/>
                  </a:cubicBezTo>
                  <a:cubicBezTo>
                    <a:pt x="73" y="394"/>
                    <a:pt x="65" y="388"/>
                    <a:pt x="55" y="388"/>
                  </a:cubicBezTo>
                  <a:lnTo>
                    <a:pt x="36" y="388"/>
                  </a:lnTo>
                  <a:cubicBezTo>
                    <a:pt x="16" y="388"/>
                    <a:pt x="0" y="372"/>
                    <a:pt x="0" y="353"/>
                  </a:cubicBezTo>
                  <a:lnTo>
                    <a:pt x="0" y="282"/>
                  </a:lnTo>
                  <a:cubicBezTo>
                    <a:pt x="0" y="263"/>
                    <a:pt x="16" y="247"/>
                    <a:pt x="36" y="247"/>
                  </a:cubicBezTo>
                  <a:lnTo>
                    <a:pt x="55" y="247"/>
                  </a:lnTo>
                  <a:cubicBezTo>
                    <a:pt x="65" y="247"/>
                    <a:pt x="73" y="241"/>
                    <a:pt x="77" y="232"/>
                  </a:cubicBezTo>
                  <a:cubicBezTo>
                    <a:pt x="80" y="224"/>
                    <a:pt x="83" y="215"/>
                    <a:pt x="87" y="207"/>
                  </a:cubicBezTo>
                  <a:cubicBezTo>
                    <a:pt x="91" y="199"/>
                    <a:pt x="89" y="188"/>
                    <a:pt x="82" y="182"/>
                  </a:cubicBezTo>
                  <a:lnTo>
                    <a:pt x="69" y="168"/>
                  </a:lnTo>
                  <a:cubicBezTo>
                    <a:pt x="62" y="161"/>
                    <a:pt x="58" y="152"/>
                    <a:pt x="58" y="143"/>
                  </a:cubicBezTo>
                  <a:cubicBezTo>
                    <a:pt x="58" y="133"/>
                    <a:pt x="62" y="124"/>
                    <a:pt x="69" y="118"/>
                  </a:cubicBezTo>
                  <a:lnTo>
                    <a:pt x="118" y="68"/>
                  </a:lnTo>
                  <a:cubicBezTo>
                    <a:pt x="125" y="61"/>
                    <a:pt x="134" y="57"/>
                    <a:pt x="144" y="58"/>
                  </a:cubicBezTo>
                  <a:cubicBezTo>
                    <a:pt x="154" y="58"/>
                    <a:pt x="163" y="62"/>
                    <a:pt x="170" y="70"/>
                  </a:cubicBezTo>
                  <a:lnTo>
                    <a:pt x="183" y="82"/>
                  </a:lnTo>
                  <a:cubicBezTo>
                    <a:pt x="189" y="89"/>
                    <a:pt x="199" y="90"/>
                    <a:pt x="207" y="87"/>
                  </a:cubicBezTo>
                  <a:cubicBezTo>
                    <a:pt x="215" y="83"/>
                    <a:pt x="224" y="79"/>
                    <a:pt x="233" y="76"/>
                  </a:cubicBezTo>
                  <a:cubicBezTo>
                    <a:pt x="242" y="73"/>
                    <a:pt x="248" y="64"/>
                    <a:pt x="248" y="55"/>
                  </a:cubicBezTo>
                  <a:lnTo>
                    <a:pt x="248" y="35"/>
                  </a:lnTo>
                  <a:cubicBezTo>
                    <a:pt x="248" y="16"/>
                    <a:pt x="264" y="0"/>
                    <a:pt x="283" y="0"/>
                  </a:cubicBezTo>
                  <a:lnTo>
                    <a:pt x="318" y="0"/>
                  </a:lnTo>
                  <a:lnTo>
                    <a:pt x="318" y="16"/>
                  </a:lnTo>
                  <a:lnTo>
                    <a:pt x="283" y="16"/>
                  </a:lnTo>
                  <a:cubicBezTo>
                    <a:pt x="273" y="16"/>
                    <a:pt x="264" y="25"/>
                    <a:pt x="264" y="35"/>
                  </a:cubicBezTo>
                  <a:lnTo>
                    <a:pt x="264" y="55"/>
                  </a:lnTo>
                  <a:cubicBezTo>
                    <a:pt x="264" y="71"/>
                    <a:pt x="254" y="86"/>
                    <a:pt x="238" y="92"/>
                  </a:cubicBezTo>
                  <a:cubicBezTo>
                    <a:pt x="230" y="95"/>
                    <a:pt x="222" y="98"/>
                    <a:pt x="214" y="102"/>
                  </a:cubicBezTo>
                  <a:cubicBezTo>
                    <a:pt x="200" y="109"/>
                    <a:pt x="183" y="106"/>
                    <a:pt x="171" y="94"/>
                  </a:cubicBezTo>
                  <a:lnTo>
                    <a:pt x="159" y="82"/>
                  </a:lnTo>
                  <a:cubicBezTo>
                    <a:pt x="154" y="77"/>
                    <a:pt x="149" y="75"/>
                    <a:pt x="144" y="75"/>
                  </a:cubicBezTo>
                  <a:cubicBezTo>
                    <a:pt x="139" y="74"/>
                    <a:pt x="134" y="76"/>
                    <a:pt x="130" y="80"/>
                  </a:cubicBezTo>
                  <a:lnTo>
                    <a:pt x="80" y="130"/>
                  </a:lnTo>
                  <a:cubicBezTo>
                    <a:pt x="77" y="133"/>
                    <a:pt x="75" y="138"/>
                    <a:pt x="75" y="143"/>
                  </a:cubicBezTo>
                  <a:cubicBezTo>
                    <a:pt x="75" y="148"/>
                    <a:pt x="77" y="153"/>
                    <a:pt x="80" y="156"/>
                  </a:cubicBezTo>
                  <a:lnTo>
                    <a:pt x="94" y="170"/>
                  </a:lnTo>
                  <a:cubicBezTo>
                    <a:pt x="106" y="182"/>
                    <a:pt x="109" y="199"/>
                    <a:pt x="102" y="214"/>
                  </a:cubicBezTo>
                  <a:cubicBezTo>
                    <a:pt x="98" y="222"/>
                    <a:pt x="95" y="230"/>
                    <a:pt x="92" y="238"/>
                  </a:cubicBezTo>
                  <a:cubicBezTo>
                    <a:pt x="87" y="253"/>
                    <a:pt x="72" y="264"/>
                    <a:pt x="55" y="264"/>
                  </a:cubicBezTo>
                  <a:lnTo>
                    <a:pt x="36" y="264"/>
                  </a:lnTo>
                  <a:cubicBezTo>
                    <a:pt x="26" y="264"/>
                    <a:pt x="17" y="272"/>
                    <a:pt x="17" y="282"/>
                  </a:cubicBezTo>
                  <a:lnTo>
                    <a:pt x="17" y="353"/>
                  </a:lnTo>
                  <a:cubicBezTo>
                    <a:pt x="17" y="363"/>
                    <a:pt x="26" y="372"/>
                    <a:pt x="36" y="372"/>
                  </a:cubicBezTo>
                  <a:lnTo>
                    <a:pt x="55" y="372"/>
                  </a:lnTo>
                  <a:cubicBezTo>
                    <a:pt x="72" y="372"/>
                    <a:pt x="87" y="382"/>
                    <a:pt x="92" y="398"/>
                  </a:cubicBezTo>
                  <a:cubicBezTo>
                    <a:pt x="95" y="406"/>
                    <a:pt x="99" y="414"/>
                    <a:pt x="102" y="422"/>
                  </a:cubicBezTo>
                  <a:cubicBezTo>
                    <a:pt x="109" y="436"/>
                    <a:pt x="106" y="453"/>
                    <a:pt x="95" y="465"/>
                  </a:cubicBezTo>
                  <a:lnTo>
                    <a:pt x="82" y="477"/>
                  </a:lnTo>
                  <a:cubicBezTo>
                    <a:pt x="74" y="486"/>
                    <a:pt x="73" y="498"/>
                    <a:pt x="80" y="506"/>
                  </a:cubicBezTo>
                  <a:lnTo>
                    <a:pt x="130" y="556"/>
                  </a:lnTo>
                  <a:cubicBezTo>
                    <a:pt x="138" y="563"/>
                    <a:pt x="150" y="563"/>
                    <a:pt x="157" y="556"/>
                  </a:cubicBezTo>
                  <a:lnTo>
                    <a:pt x="171" y="542"/>
                  </a:lnTo>
                  <a:cubicBezTo>
                    <a:pt x="182" y="530"/>
                    <a:pt x="200" y="527"/>
                    <a:pt x="215" y="534"/>
                  </a:cubicBezTo>
                  <a:cubicBezTo>
                    <a:pt x="223" y="538"/>
                    <a:pt x="231" y="541"/>
                    <a:pt x="239" y="544"/>
                  </a:cubicBezTo>
                  <a:cubicBezTo>
                    <a:pt x="254" y="549"/>
                    <a:pt x="264" y="564"/>
                    <a:pt x="264" y="580"/>
                  </a:cubicBezTo>
                  <a:lnTo>
                    <a:pt x="264" y="597"/>
                  </a:lnTo>
                  <a:cubicBezTo>
                    <a:pt x="264" y="610"/>
                    <a:pt x="272" y="619"/>
                    <a:pt x="283" y="619"/>
                  </a:cubicBezTo>
                  <a:lnTo>
                    <a:pt x="318" y="619"/>
                  </a:lnTo>
                  <a:lnTo>
                    <a:pt x="318" y="636"/>
                  </a:lnTo>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30" name="Freeform 435">
              <a:extLst>
                <a:ext uri="{FF2B5EF4-FFF2-40B4-BE49-F238E27FC236}">
                  <a16:creationId xmlns:a16="http://schemas.microsoft.com/office/drawing/2014/main" id="{C9EF1039-BD6E-4CEA-B65A-DE94BC749860}"/>
                </a:ext>
              </a:extLst>
            </p:cNvPr>
            <p:cNvSpPr>
              <a:spLocks/>
            </p:cNvSpPr>
            <p:nvPr/>
          </p:nvSpPr>
          <p:spPr bwMode="auto">
            <a:xfrm>
              <a:off x="8016876" y="4986338"/>
              <a:ext cx="200025" cy="100013"/>
            </a:xfrm>
            <a:custGeom>
              <a:avLst/>
              <a:gdLst>
                <a:gd name="T0" fmla="*/ 297 w 297"/>
                <a:gd name="T1" fmla="*/ 149 h 149"/>
                <a:gd name="T2" fmla="*/ 281 w 297"/>
                <a:gd name="T3" fmla="*/ 149 h 149"/>
                <a:gd name="T4" fmla="*/ 149 w 297"/>
                <a:gd name="T5" fmla="*/ 17 h 149"/>
                <a:gd name="T6" fmla="*/ 17 w 297"/>
                <a:gd name="T7" fmla="*/ 149 h 149"/>
                <a:gd name="T8" fmla="*/ 0 w 297"/>
                <a:gd name="T9" fmla="*/ 149 h 149"/>
                <a:gd name="T10" fmla="*/ 149 w 297"/>
                <a:gd name="T11" fmla="*/ 0 h 149"/>
                <a:gd name="T12" fmla="*/ 297 w 297"/>
                <a:gd name="T13" fmla="*/ 149 h 149"/>
              </a:gdLst>
              <a:ahLst/>
              <a:cxnLst>
                <a:cxn ang="0">
                  <a:pos x="T0" y="T1"/>
                </a:cxn>
                <a:cxn ang="0">
                  <a:pos x="T2" y="T3"/>
                </a:cxn>
                <a:cxn ang="0">
                  <a:pos x="T4" y="T5"/>
                </a:cxn>
                <a:cxn ang="0">
                  <a:pos x="T6" y="T7"/>
                </a:cxn>
                <a:cxn ang="0">
                  <a:pos x="T8" y="T9"/>
                </a:cxn>
                <a:cxn ang="0">
                  <a:pos x="T10" y="T11"/>
                </a:cxn>
                <a:cxn ang="0">
                  <a:pos x="T12" y="T13"/>
                </a:cxn>
              </a:cxnLst>
              <a:rect l="0" t="0" r="r" b="b"/>
              <a:pathLst>
                <a:path w="297" h="149">
                  <a:moveTo>
                    <a:pt x="297" y="149"/>
                  </a:moveTo>
                  <a:lnTo>
                    <a:pt x="281" y="149"/>
                  </a:lnTo>
                  <a:cubicBezTo>
                    <a:pt x="281" y="76"/>
                    <a:pt x="221" y="17"/>
                    <a:pt x="149" y="17"/>
                  </a:cubicBezTo>
                  <a:cubicBezTo>
                    <a:pt x="76" y="17"/>
                    <a:pt x="17" y="76"/>
                    <a:pt x="17" y="149"/>
                  </a:cubicBezTo>
                  <a:lnTo>
                    <a:pt x="0" y="149"/>
                  </a:lnTo>
                  <a:cubicBezTo>
                    <a:pt x="0" y="67"/>
                    <a:pt x="67" y="0"/>
                    <a:pt x="149" y="0"/>
                  </a:cubicBezTo>
                  <a:cubicBezTo>
                    <a:pt x="231" y="0"/>
                    <a:pt x="297" y="67"/>
                    <a:pt x="297" y="149"/>
                  </a:cubicBezTo>
                  <a:close/>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31" name="Freeform 436">
              <a:extLst>
                <a:ext uri="{FF2B5EF4-FFF2-40B4-BE49-F238E27FC236}">
                  <a16:creationId xmlns:a16="http://schemas.microsoft.com/office/drawing/2014/main" id="{CF936D7F-6160-41EE-943F-3BEAE99A4723}"/>
                </a:ext>
              </a:extLst>
            </p:cNvPr>
            <p:cNvSpPr>
              <a:spLocks/>
            </p:cNvSpPr>
            <p:nvPr/>
          </p:nvSpPr>
          <p:spPr bwMode="auto">
            <a:xfrm>
              <a:off x="7902576" y="4872038"/>
              <a:ext cx="428625" cy="214313"/>
            </a:xfrm>
            <a:custGeom>
              <a:avLst/>
              <a:gdLst>
                <a:gd name="T0" fmla="*/ 619 w 636"/>
                <a:gd name="T1" fmla="*/ 318 h 318"/>
                <a:gd name="T2" fmla="*/ 600 w 636"/>
                <a:gd name="T3" fmla="*/ 264 h 318"/>
                <a:gd name="T4" fmla="*/ 544 w 636"/>
                <a:gd name="T5" fmla="*/ 238 h 318"/>
                <a:gd name="T6" fmla="*/ 541 w 636"/>
                <a:gd name="T7" fmla="*/ 171 h 318"/>
                <a:gd name="T8" fmla="*/ 556 w 636"/>
                <a:gd name="T9" fmla="*/ 130 h 318"/>
                <a:gd name="T10" fmla="*/ 479 w 636"/>
                <a:gd name="T11" fmla="*/ 80 h 318"/>
                <a:gd name="T12" fmla="*/ 421 w 636"/>
                <a:gd name="T13" fmla="*/ 102 h 318"/>
                <a:gd name="T14" fmla="*/ 372 w 636"/>
                <a:gd name="T15" fmla="*/ 55 h 318"/>
                <a:gd name="T16" fmla="*/ 353 w 636"/>
                <a:gd name="T17" fmla="*/ 17 h 318"/>
                <a:gd name="T18" fmla="*/ 264 w 636"/>
                <a:gd name="T19" fmla="*/ 36 h 318"/>
                <a:gd name="T20" fmla="*/ 238 w 636"/>
                <a:gd name="T21" fmla="*/ 92 h 318"/>
                <a:gd name="T22" fmla="*/ 171 w 636"/>
                <a:gd name="T23" fmla="*/ 94 h 318"/>
                <a:gd name="T24" fmla="*/ 143 w 636"/>
                <a:gd name="T25" fmla="*/ 75 h 318"/>
                <a:gd name="T26" fmla="*/ 80 w 636"/>
                <a:gd name="T27" fmla="*/ 130 h 318"/>
                <a:gd name="T28" fmla="*/ 94 w 636"/>
                <a:gd name="T29" fmla="*/ 170 h 318"/>
                <a:gd name="T30" fmla="*/ 91 w 636"/>
                <a:gd name="T31" fmla="*/ 239 h 318"/>
                <a:gd name="T32" fmla="*/ 38 w 636"/>
                <a:gd name="T33" fmla="*/ 264 h 318"/>
                <a:gd name="T34" fmla="*/ 17 w 636"/>
                <a:gd name="T35" fmla="*/ 318 h 318"/>
                <a:gd name="T36" fmla="*/ 0 w 636"/>
                <a:gd name="T37" fmla="*/ 283 h 318"/>
                <a:gd name="T38" fmla="*/ 56 w 636"/>
                <a:gd name="T39" fmla="*/ 247 h 318"/>
                <a:gd name="T40" fmla="*/ 86 w 636"/>
                <a:gd name="T41" fmla="*/ 207 h 318"/>
                <a:gd name="T42" fmla="*/ 68 w 636"/>
                <a:gd name="T43" fmla="*/ 168 h 318"/>
                <a:gd name="T44" fmla="*/ 68 w 636"/>
                <a:gd name="T45" fmla="*/ 118 h 318"/>
                <a:gd name="T46" fmla="*/ 144 w 636"/>
                <a:gd name="T47" fmla="*/ 58 h 318"/>
                <a:gd name="T48" fmla="*/ 183 w 636"/>
                <a:gd name="T49" fmla="*/ 83 h 318"/>
                <a:gd name="T50" fmla="*/ 232 w 636"/>
                <a:gd name="T51" fmla="*/ 76 h 318"/>
                <a:gd name="T52" fmla="*/ 247 w 636"/>
                <a:gd name="T53" fmla="*/ 36 h 318"/>
                <a:gd name="T54" fmla="*/ 353 w 636"/>
                <a:gd name="T55" fmla="*/ 0 h 318"/>
                <a:gd name="T56" fmla="*/ 389 w 636"/>
                <a:gd name="T57" fmla="*/ 55 h 318"/>
                <a:gd name="T58" fmla="*/ 428 w 636"/>
                <a:gd name="T59" fmla="*/ 87 h 318"/>
                <a:gd name="T60" fmla="*/ 467 w 636"/>
                <a:gd name="T61" fmla="*/ 68 h 318"/>
                <a:gd name="T62" fmla="*/ 567 w 636"/>
                <a:gd name="T63" fmla="*/ 118 h 318"/>
                <a:gd name="T64" fmla="*/ 553 w 636"/>
                <a:gd name="T65" fmla="*/ 183 h 318"/>
                <a:gd name="T66" fmla="*/ 560 w 636"/>
                <a:gd name="T67" fmla="*/ 232 h 318"/>
                <a:gd name="T68" fmla="*/ 600 w 636"/>
                <a:gd name="T69" fmla="*/ 247 h 318"/>
                <a:gd name="T70" fmla="*/ 636 w 636"/>
                <a:gd name="T71"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6" h="318">
                  <a:moveTo>
                    <a:pt x="636" y="318"/>
                  </a:moveTo>
                  <a:lnTo>
                    <a:pt x="619" y="318"/>
                  </a:lnTo>
                  <a:lnTo>
                    <a:pt x="619" y="283"/>
                  </a:lnTo>
                  <a:cubicBezTo>
                    <a:pt x="619" y="272"/>
                    <a:pt x="611" y="264"/>
                    <a:pt x="600" y="264"/>
                  </a:cubicBezTo>
                  <a:lnTo>
                    <a:pt x="581" y="264"/>
                  </a:lnTo>
                  <a:cubicBezTo>
                    <a:pt x="564" y="264"/>
                    <a:pt x="549" y="253"/>
                    <a:pt x="544" y="238"/>
                  </a:cubicBezTo>
                  <a:cubicBezTo>
                    <a:pt x="541" y="230"/>
                    <a:pt x="538" y="221"/>
                    <a:pt x="534" y="214"/>
                  </a:cubicBezTo>
                  <a:cubicBezTo>
                    <a:pt x="527" y="199"/>
                    <a:pt x="530" y="182"/>
                    <a:pt x="541" y="171"/>
                  </a:cubicBezTo>
                  <a:lnTo>
                    <a:pt x="554" y="158"/>
                  </a:lnTo>
                  <a:cubicBezTo>
                    <a:pt x="563" y="149"/>
                    <a:pt x="563" y="137"/>
                    <a:pt x="556" y="130"/>
                  </a:cubicBezTo>
                  <a:lnTo>
                    <a:pt x="506" y="80"/>
                  </a:lnTo>
                  <a:cubicBezTo>
                    <a:pt x="499" y="73"/>
                    <a:pt x="486" y="73"/>
                    <a:pt x="479" y="80"/>
                  </a:cubicBezTo>
                  <a:lnTo>
                    <a:pt x="466" y="94"/>
                  </a:lnTo>
                  <a:cubicBezTo>
                    <a:pt x="454" y="105"/>
                    <a:pt x="436" y="109"/>
                    <a:pt x="421" y="102"/>
                  </a:cubicBezTo>
                  <a:cubicBezTo>
                    <a:pt x="414" y="98"/>
                    <a:pt x="406" y="95"/>
                    <a:pt x="398" y="92"/>
                  </a:cubicBezTo>
                  <a:cubicBezTo>
                    <a:pt x="382" y="86"/>
                    <a:pt x="372" y="72"/>
                    <a:pt x="372" y="55"/>
                  </a:cubicBezTo>
                  <a:lnTo>
                    <a:pt x="372" y="36"/>
                  </a:lnTo>
                  <a:cubicBezTo>
                    <a:pt x="372" y="25"/>
                    <a:pt x="363" y="17"/>
                    <a:pt x="353" y="17"/>
                  </a:cubicBezTo>
                  <a:lnTo>
                    <a:pt x="283" y="17"/>
                  </a:lnTo>
                  <a:cubicBezTo>
                    <a:pt x="272" y="17"/>
                    <a:pt x="264" y="25"/>
                    <a:pt x="264" y="36"/>
                  </a:cubicBezTo>
                  <a:lnTo>
                    <a:pt x="264" y="55"/>
                  </a:lnTo>
                  <a:cubicBezTo>
                    <a:pt x="264" y="72"/>
                    <a:pt x="253" y="86"/>
                    <a:pt x="238" y="92"/>
                  </a:cubicBezTo>
                  <a:cubicBezTo>
                    <a:pt x="230" y="95"/>
                    <a:pt x="221" y="98"/>
                    <a:pt x="214" y="102"/>
                  </a:cubicBezTo>
                  <a:cubicBezTo>
                    <a:pt x="199" y="109"/>
                    <a:pt x="182" y="106"/>
                    <a:pt x="171" y="94"/>
                  </a:cubicBezTo>
                  <a:lnTo>
                    <a:pt x="158" y="82"/>
                  </a:lnTo>
                  <a:cubicBezTo>
                    <a:pt x="154" y="77"/>
                    <a:pt x="148" y="75"/>
                    <a:pt x="143" y="75"/>
                  </a:cubicBezTo>
                  <a:cubicBezTo>
                    <a:pt x="138" y="74"/>
                    <a:pt x="133" y="76"/>
                    <a:pt x="130" y="80"/>
                  </a:cubicBezTo>
                  <a:lnTo>
                    <a:pt x="80" y="130"/>
                  </a:lnTo>
                  <a:cubicBezTo>
                    <a:pt x="73" y="137"/>
                    <a:pt x="73" y="149"/>
                    <a:pt x="80" y="156"/>
                  </a:cubicBezTo>
                  <a:lnTo>
                    <a:pt x="94" y="170"/>
                  </a:lnTo>
                  <a:cubicBezTo>
                    <a:pt x="105" y="182"/>
                    <a:pt x="109" y="200"/>
                    <a:pt x="101" y="214"/>
                  </a:cubicBezTo>
                  <a:cubicBezTo>
                    <a:pt x="98" y="222"/>
                    <a:pt x="94" y="231"/>
                    <a:pt x="91" y="239"/>
                  </a:cubicBezTo>
                  <a:cubicBezTo>
                    <a:pt x="86" y="254"/>
                    <a:pt x="72" y="264"/>
                    <a:pt x="56" y="264"/>
                  </a:cubicBezTo>
                  <a:lnTo>
                    <a:pt x="38" y="264"/>
                  </a:lnTo>
                  <a:cubicBezTo>
                    <a:pt x="26" y="264"/>
                    <a:pt x="17" y="272"/>
                    <a:pt x="17" y="283"/>
                  </a:cubicBezTo>
                  <a:lnTo>
                    <a:pt x="17" y="318"/>
                  </a:lnTo>
                  <a:lnTo>
                    <a:pt x="0" y="318"/>
                  </a:lnTo>
                  <a:lnTo>
                    <a:pt x="0" y="283"/>
                  </a:lnTo>
                  <a:cubicBezTo>
                    <a:pt x="0" y="262"/>
                    <a:pt x="16" y="247"/>
                    <a:pt x="38" y="247"/>
                  </a:cubicBezTo>
                  <a:lnTo>
                    <a:pt x="56" y="247"/>
                  </a:lnTo>
                  <a:cubicBezTo>
                    <a:pt x="65" y="247"/>
                    <a:pt x="73" y="242"/>
                    <a:pt x="76" y="233"/>
                  </a:cubicBezTo>
                  <a:cubicBezTo>
                    <a:pt x="79" y="225"/>
                    <a:pt x="82" y="216"/>
                    <a:pt x="86" y="207"/>
                  </a:cubicBezTo>
                  <a:cubicBezTo>
                    <a:pt x="90" y="199"/>
                    <a:pt x="89" y="189"/>
                    <a:pt x="82" y="182"/>
                  </a:cubicBezTo>
                  <a:lnTo>
                    <a:pt x="68" y="168"/>
                  </a:lnTo>
                  <a:cubicBezTo>
                    <a:pt x="61" y="162"/>
                    <a:pt x="58" y="153"/>
                    <a:pt x="58" y="143"/>
                  </a:cubicBezTo>
                  <a:cubicBezTo>
                    <a:pt x="58" y="134"/>
                    <a:pt x="61" y="125"/>
                    <a:pt x="68" y="118"/>
                  </a:cubicBezTo>
                  <a:lnTo>
                    <a:pt x="118" y="68"/>
                  </a:lnTo>
                  <a:cubicBezTo>
                    <a:pt x="125" y="61"/>
                    <a:pt x="133" y="58"/>
                    <a:pt x="144" y="58"/>
                  </a:cubicBezTo>
                  <a:cubicBezTo>
                    <a:pt x="153" y="58"/>
                    <a:pt x="163" y="63"/>
                    <a:pt x="170" y="70"/>
                  </a:cubicBezTo>
                  <a:lnTo>
                    <a:pt x="183" y="83"/>
                  </a:lnTo>
                  <a:cubicBezTo>
                    <a:pt x="189" y="89"/>
                    <a:pt x="198" y="91"/>
                    <a:pt x="206" y="87"/>
                  </a:cubicBezTo>
                  <a:cubicBezTo>
                    <a:pt x="215" y="83"/>
                    <a:pt x="223" y="79"/>
                    <a:pt x="232" y="76"/>
                  </a:cubicBezTo>
                  <a:cubicBezTo>
                    <a:pt x="241" y="73"/>
                    <a:pt x="247" y="64"/>
                    <a:pt x="247" y="55"/>
                  </a:cubicBezTo>
                  <a:lnTo>
                    <a:pt x="247" y="36"/>
                  </a:lnTo>
                  <a:cubicBezTo>
                    <a:pt x="247" y="16"/>
                    <a:pt x="263" y="0"/>
                    <a:pt x="283" y="0"/>
                  </a:cubicBezTo>
                  <a:lnTo>
                    <a:pt x="353" y="0"/>
                  </a:lnTo>
                  <a:cubicBezTo>
                    <a:pt x="373" y="0"/>
                    <a:pt x="389" y="16"/>
                    <a:pt x="389" y="36"/>
                  </a:cubicBezTo>
                  <a:lnTo>
                    <a:pt x="389" y="55"/>
                  </a:lnTo>
                  <a:cubicBezTo>
                    <a:pt x="389" y="64"/>
                    <a:pt x="394" y="73"/>
                    <a:pt x="403" y="76"/>
                  </a:cubicBezTo>
                  <a:cubicBezTo>
                    <a:pt x="412" y="79"/>
                    <a:pt x="420" y="83"/>
                    <a:pt x="428" y="87"/>
                  </a:cubicBezTo>
                  <a:cubicBezTo>
                    <a:pt x="437" y="91"/>
                    <a:pt x="447" y="89"/>
                    <a:pt x="454" y="82"/>
                  </a:cubicBezTo>
                  <a:lnTo>
                    <a:pt x="467" y="68"/>
                  </a:lnTo>
                  <a:cubicBezTo>
                    <a:pt x="481" y="55"/>
                    <a:pt x="504" y="55"/>
                    <a:pt x="518" y="68"/>
                  </a:cubicBezTo>
                  <a:lnTo>
                    <a:pt x="567" y="118"/>
                  </a:lnTo>
                  <a:cubicBezTo>
                    <a:pt x="582" y="132"/>
                    <a:pt x="581" y="155"/>
                    <a:pt x="566" y="170"/>
                  </a:cubicBezTo>
                  <a:lnTo>
                    <a:pt x="553" y="183"/>
                  </a:lnTo>
                  <a:cubicBezTo>
                    <a:pt x="547" y="189"/>
                    <a:pt x="545" y="199"/>
                    <a:pt x="549" y="206"/>
                  </a:cubicBezTo>
                  <a:cubicBezTo>
                    <a:pt x="553" y="215"/>
                    <a:pt x="556" y="224"/>
                    <a:pt x="560" y="232"/>
                  </a:cubicBezTo>
                  <a:cubicBezTo>
                    <a:pt x="563" y="241"/>
                    <a:pt x="571" y="247"/>
                    <a:pt x="581" y="247"/>
                  </a:cubicBezTo>
                  <a:lnTo>
                    <a:pt x="600" y="247"/>
                  </a:lnTo>
                  <a:cubicBezTo>
                    <a:pt x="620" y="247"/>
                    <a:pt x="636" y="263"/>
                    <a:pt x="636" y="283"/>
                  </a:cubicBezTo>
                  <a:lnTo>
                    <a:pt x="636" y="318"/>
                  </a:lnTo>
                  <a:close/>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32" name="Freeform 437">
              <a:extLst>
                <a:ext uri="{FF2B5EF4-FFF2-40B4-BE49-F238E27FC236}">
                  <a16:creationId xmlns:a16="http://schemas.microsoft.com/office/drawing/2014/main" id="{233C8381-1B49-439B-9A50-48AC49D461CA}"/>
                </a:ext>
              </a:extLst>
            </p:cNvPr>
            <p:cNvSpPr>
              <a:spLocks noEditPoints="1"/>
            </p:cNvSpPr>
            <p:nvPr/>
          </p:nvSpPr>
          <p:spPr bwMode="auto">
            <a:xfrm>
              <a:off x="7723188" y="4511676"/>
              <a:ext cx="769938" cy="569913"/>
            </a:xfrm>
            <a:custGeom>
              <a:avLst/>
              <a:gdLst>
                <a:gd name="T0" fmla="*/ 17 w 1143"/>
                <a:gd name="T1" fmla="*/ 96 h 844"/>
                <a:gd name="T2" fmla="*/ 17 w 1143"/>
                <a:gd name="T3" fmla="*/ 775 h 844"/>
                <a:gd name="T4" fmla="*/ 69 w 1143"/>
                <a:gd name="T5" fmla="*/ 827 h 844"/>
                <a:gd name="T6" fmla="*/ 122 w 1143"/>
                <a:gd name="T7" fmla="*/ 775 h 844"/>
                <a:gd name="T8" fmla="*/ 122 w 1143"/>
                <a:gd name="T9" fmla="*/ 96 h 844"/>
                <a:gd name="T10" fmla="*/ 17 w 1143"/>
                <a:gd name="T11" fmla="*/ 96 h 844"/>
                <a:gd name="T12" fmla="*/ 69 w 1143"/>
                <a:gd name="T13" fmla="*/ 844 h 844"/>
                <a:gd name="T14" fmla="*/ 0 w 1143"/>
                <a:gd name="T15" fmla="*/ 775 h 844"/>
                <a:gd name="T16" fmla="*/ 0 w 1143"/>
                <a:gd name="T17" fmla="*/ 80 h 844"/>
                <a:gd name="T18" fmla="*/ 122 w 1143"/>
                <a:gd name="T19" fmla="*/ 80 h 844"/>
                <a:gd name="T20" fmla="*/ 122 w 1143"/>
                <a:gd name="T21" fmla="*/ 0 h 844"/>
                <a:gd name="T22" fmla="*/ 455 w 1143"/>
                <a:gd name="T23" fmla="*/ 0 h 844"/>
                <a:gd name="T24" fmla="*/ 525 w 1143"/>
                <a:gd name="T25" fmla="*/ 98 h 844"/>
                <a:gd name="T26" fmla="*/ 1143 w 1143"/>
                <a:gd name="T27" fmla="*/ 98 h 844"/>
                <a:gd name="T28" fmla="*/ 1143 w 1143"/>
                <a:gd name="T29" fmla="*/ 150 h 844"/>
                <a:gd name="T30" fmla="*/ 1126 w 1143"/>
                <a:gd name="T31" fmla="*/ 150 h 844"/>
                <a:gd name="T32" fmla="*/ 1126 w 1143"/>
                <a:gd name="T33" fmla="*/ 114 h 844"/>
                <a:gd name="T34" fmla="*/ 516 w 1143"/>
                <a:gd name="T35" fmla="*/ 114 h 844"/>
                <a:gd name="T36" fmla="*/ 447 w 1143"/>
                <a:gd name="T37" fmla="*/ 17 h 844"/>
                <a:gd name="T38" fmla="*/ 138 w 1143"/>
                <a:gd name="T39" fmla="*/ 17 h 844"/>
                <a:gd name="T40" fmla="*/ 138 w 1143"/>
                <a:gd name="T41" fmla="*/ 775 h 844"/>
                <a:gd name="T42" fmla="*/ 69 w 1143"/>
                <a:gd name="T43" fmla="*/ 844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3" h="844">
                  <a:moveTo>
                    <a:pt x="17" y="96"/>
                  </a:moveTo>
                  <a:lnTo>
                    <a:pt x="17" y="775"/>
                  </a:lnTo>
                  <a:cubicBezTo>
                    <a:pt x="17" y="804"/>
                    <a:pt x="40" y="827"/>
                    <a:pt x="69" y="827"/>
                  </a:cubicBezTo>
                  <a:cubicBezTo>
                    <a:pt x="98" y="827"/>
                    <a:pt x="122" y="804"/>
                    <a:pt x="122" y="775"/>
                  </a:cubicBezTo>
                  <a:lnTo>
                    <a:pt x="122" y="96"/>
                  </a:lnTo>
                  <a:lnTo>
                    <a:pt x="17" y="96"/>
                  </a:lnTo>
                  <a:close/>
                  <a:moveTo>
                    <a:pt x="69" y="844"/>
                  </a:moveTo>
                  <a:cubicBezTo>
                    <a:pt x="31" y="844"/>
                    <a:pt x="0" y="813"/>
                    <a:pt x="0" y="775"/>
                  </a:cubicBezTo>
                  <a:lnTo>
                    <a:pt x="0" y="80"/>
                  </a:lnTo>
                  <a:lnTo>
                    <a:pt x="122" y="80"/>
                  </a:lnTo>
                  <a:lnTo>
                    <a:pt x="122" y="0"/>
                  </a:lnTo>
                  <a:lnTo>
                    <a:pt x="455" y="0"/>
                  </a:lnTo>
                  <a:lnTo>
                    <a:pt x="525" y="98"/>
                  </a:lnTo>
                  <a:lnTo>
                    <a:pt x="1143" y="98"/>
                  </a:lnTo>
                  <a:lnTo>
                    <a:pt x="1143" y="150"/>
                  </a:lnTo>
                  <a:lnTo>
                    <a:pt x="1126" y="150"/>
                  </a:lnTo>
                  <a:lnTo>
                    <a:pt x="1126" y="114"/>
                  </a:lnTo>
                  <a:lnTo>
                    <a:pt x="516" y="114"/>
                  </a:lnTo>
                  <a:lnTo>
                    <a:pt x="447" y="17"/>
                  </a:lnTo>
                  <a:lnTo>
                    <a:pt x="138" y="17"/>
                  </a:lnTo>
                  <a:lnTo>
                    <a:pt x="138" y="775"/>
                  </a:lnTo>
                  <a:cubicBezTo>
                    <a:pt x="138" y="813"/>
                    <a:pt x="107" y="844"/>
                    <a:pt x="69" y="844"/>
                  </a:cubicBezTo>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33" name="Freeform 438">
              <a:extLst>
                <a:ext uri="{FF2B5EF4-FFF2-40B4-BE49-F238E27FC236}">
                  <a16:creationId xmlns:a16="http://schemas.microsoft.com/office/drawing/2014/main" id="{634D17EE-C51A-464C-A453-42195A61EFA2}"/>
                </a:ext>
              </a:extLst>
            </p:cNvPr>
            <p:cNvSpPr>
              <a:spLocks/>
            </p:cNvSpPr>
            <p:nvPr/>
          </p:nvSpPr>
          <p:spPr bwMode="auto">
            <a:xfrm>
              <a:off x="7866063" y="4413251"/>
              <a:ext cx="576263" cy="169863"/>
            </a:xfrm>
            <a:custGeom>
              <a:avLst/>
              <a:gdLst>
                <a:gd name="T0" fmla="*/ 363 w 363"/>
                <a:gd name="T1" fmla="*/ 107 h 107"/>
                <a:gd name="T2" fmla="*/ 355 w 363"/>
                <a:gd name="T3" fmla="*/ 107 h 107"/>
                <a:gd name="T4" fmla="*/ 355 w 363"/>
                <a:gd name="T5" fmla="*/ 7 h 107"/>
                <a:gd name="T6" fmla="*/ 8 w 363"/>
                <a:gd name="T7" fmla="*/ 7 h 107"/>
                <a:gd name="T8" fmla="*/ 8 w 363"/>
                <a:gd name="T9" fmla="*/ 65 h 107"/>
                <a:gd name="T10" fmla="*/ 0 w 363"/>
                <a:gd name="T11" fmla="*/ 65 h 107"/>
                <a:gd name="T12" fmla="*/ 0 w 363"/>
                <a:gd name="T13" fmla="*/ 0 h 107"/>
                <a:gd name="T14" fmla="*/ 363 w 363"/>
                <a:gd name="T15" fmla="*/ 0 h 107"/>
                <a:gd name="T16" fmla="*/ 363 w 363"/>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107">
                  <a:moveTo>
                    <a:pt x="363" y="107"/>
                  </a:moveTo>
                  <a:lnTo>
                    <a:pt x="355" y="107"/>
                  </a:lnTo>
                  <a:lnTo>
                    <a:pt x="355" y="7"/>
                  </a:lnTo>
                  <a:lnTo>
                    <a:pt x="8" y="7"/>
                  </a:lnTo>
                  <a:lnTo>
                    <a:pt x="8" y="65"/>
                  </a:lnTo>
                  <a:lnTo>
                    <a:pt x="0" y="65"/>
                  </a:lnTo>
                  <a:lnTo>
                    <a:pt x="0" y="0"/>
                  </a:lnTo>
                  <a:lnTo>
                    <a:pt x="363" y="0"/>
                  </a:lnTo>
                  <a:lnTo>
                    <a:pt x="363" y="107"/>
                  </a:lnTo>
                  <a:close/>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34" name="Rectangle 439">
              <a:extLst>
                <a:ext uri="{FF2B5EF4-FFF2-40B4-BE49-F238E27FC236}">
                  <a16:creationId xmlns:a16="http://schemas.microsoft.com/office/drawing/2014/main" id="{2098AE49-109E-4A4A-8519-B093D676EA34}"/>
                </a:ext>
              </a:extLst>
            </p:cNvPr>
            <p:cNvSpPr>
              <a:spLocks noChangeArrowheads="1"/>
            </p:cNvSpPr>
            <p:nvPr/>
          </p:nvSpPr>
          <p:spPr bwMode="auto">
            <a:xfrm>
              <a:off x="7769226" y="5068888"/>
              <a:ext cx="101600" cy="12700"/>
            </a:xfrm>
            <a:prstGeom prst="rect">
              <a:avLst/>
            </a:prstGeom>
            <a:grpFill/>
            <a:ln w="38100">
              <a:solidFill>
                <a:schemeClr val="accent3">
                  <a:lumMod val="75000"/>
                </a:schemeClr>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grpSp>
      <p:sp>
        <p:nvSpPr>
          <p:cNvPr id="35" name="TextBox 34">
            <a:extLst>
              <a:ext uri="{FF2B5EF4-FFF2-40B4-BE49-F238E27FC236}">
                <a16:creationId xmlns:a16="http://schemas.microsoft.com/office/drawing/2014/main" id="{CBF54C49-3D3A-4C7A-9F5D-87C21E0BAB16}"/>
              </a:ext>
            </a:extLst>
          </p:cNvPr>
          <p:cNvSpPr txBox="1"/>
          <p:nvPr/>
        </p:nvSpPr>
        <p:spPr>
          <a:xfrm>
            <a:off x="1782454" y="604413"/>
            <a:ext cx="2986715" cy="584775"/>
          </a:xfrm>
          <a:prstGeom prst="rect">
            <a:avLst/>
          </a:prstGeom>
          <a:noFill/>
        </p:spPr>
        <p:txBody>
          <a:bodyPr wrap="none" rtlCol="0">
            <a:spAutoFit/>
          </a:bodyPr>
          <a:lstStyle/>
          <a:p>
            <a:r>
              <a:rPr lang="en-US" sz="3200">
                <a:solidFill>
                  <a:schemeClr val="tx1">
                    <a:lumMod val="85000"/>
                    <a:lumOff val="15000"/>
                  </a:schemeClr>
                </a:solidFill>
              </a:rPr>
              <a:t>Liên kết dữ liệu</a:t>
            </a:r>
            <a:endParaRPr lang="vi-VN" sz="3200">
              <a:solidFill>
                <a:schemeClr val="tx1">
                  <a:lumMod val="85000"/>
                  <a:lumOff val="15000"/>
                </a:schemeClr>
              </a:solidFill>
            </a:endParaRPr>
          </a:p>
        </p:txBody>
      </p:sp>
      <p:sp>
        <p:nvSpPr>
          <p:cNvPr id="36" name="TextBox 35">
            <a:extLst>
              <a:ext uri="{FF2B5EF4-FFF2-40B4-BE49-F238E27FC236}">
                <a16:creationId xmlns:a16="http://schemas.microsoft.com/office/drawing/2014/main" id="{FDDA8FA4-BCB7-4A3F-B590-80766705F084}"/>
              </a:ext>
            </a:extLst>
          </p:cNvPr>
          <p:cNvSpPr txBox="1"/>
          <p:nvPr/>
        </p:nvSpPr>
        <p:spPr>
          <a:xfrm flipH="1">
            <a:off x="957740" y="1412497"/>
            <a:ext cx="10149556" cy="2308324"/>
          </a:xfrm>
          <a:prstGeom prst="rect">
            <a:avLst/>
          </a:prstGeom>
          <a:noFill/>
        </p:spPr>
        <p:txBody>
          <a:bodyPr wrap="square" rtlCol="0">
            <a:spAutoFit/>
          </a:bodyPr>
          <a:lstStyle/>
          <a:p>
            <a:pPr marL="342900" indent="-342900">
              <a:buFont typeface="Wingdings" panose="05000000000000000000" pitchFamily="2" charset="2"/>
              <a:buChar char="§"/>
            </a:pPr>
            <a:r>
              <a:rPr lang="en-US" sz="2400">
                <a:solidFill>
                  <a:schemeClr val="accent5">
                    <a:lumMod val="75000"/>
                  </a:schemeClr>
                </a:solidFill>
              </a:rPr>
              <a:t>Liên kết dữ liệu theo khóa </a:t>
            </a:r>
            <a:r>
              <a:rPr lang="en-US" sz="2400">
                <a:solidFill>
                  <a:schemeClr val="tx1">
                    <a:lumMod val="85000"/>
                    <a:lumOff val="15000"/>
                  </a:schemeClr>
                </a:solidFill>
              </a:rPr>
              <a:t>là dùng khóa ngoài của bảng để thực hiện việc ghép nối dữ liệu hai bảng với nhau.</a:t>
            </a:r>
          </a:p>
          <a:p>
            <a:pPr marL="342900" indent="-342900">
              <a:buFont typeface="Wingdings" panose="05000000000000000000" pitchFamily="2" charset="2"/>
              <a:buChar char="§"/>
            </a:pPr>
            <a:r>
              <a:rPr lang="en-US" sz="2400">
                <a:solidFill>
                  <a:schemeClr val="tx1">
                    <a:lumMod val="85000"/>
                    <a:lumOff val="15000"/>
                  </a:schemeClr>
                </a:solidFill>
              </a:rPr>
              <a:t>CSDL th</a:t>
            </a:r>
            <a:r>
              <a:rPr lang="vi-VN" sz="2400">
                <a:solidFill>
                  <a:schemeClr val="tx1">
                    <a:lumMod val="85000"/>
                    <a:lumOff val="15000"/>
                  </a:schemeClr>
                </a:solidFill>
              </a:rPr>
              <a:t>ư</a:t>
            </a:r>
            <a:r>
              <a:rPr lang="en-US" sz="2400">
                <a:solidFill>
                  <a:schemeClr val="tx1">
                    <a:lumMod val="85000"/>
                    <a:lumOff val="15000"/>
                  </a:schemeClr>
                </a:solidFill>
              </a:rPr>
              <a:t>ờng gồm nhiều bảng liên kết với nhau nhằm hạn chế d</a:t>
            </a:r>
            <a:r>
              <a:rPr lang="vi-VN" sz="2400">
                <a:solidFill>
                  <a:schemeClr val="tx1">
                    <a:lumMod val="85000"/>
                    <a:lumOff val="15000"/>
                  </a:schemeClr>
                </a:solidFill>
              </a:rPr>
              <a:t>ư</a:t>
            </a:r>
            <a:r>
              <a:rPr lang="en-US" sz="2400">
                <a:solidFill>
                  <a:schemeClr val="tx1">
                    <a:lumMod val="85000"/>
                    <a:lumOff val="15000"/>
                  </a:schemeClr>
                </a:solidFill>
              </a:rPr>
              <a:t> thừa dữ liệu, thuận lợi trong việc đảm bảo tính nhất quán, tính toàn vẹn của dữ liệu khi cập nhật dữ liệu.</a:t>
            </a:r>
          </a:p>
          <a:p>
            <a:pPr marL="342900" indent="-342900">
              <a:buFont typeface="Wingdings" panose="05000000000000000000" pitchFamily="2" charset="2"/>
              <a:buChar char="§"/>
            </a:pPr>
            <a:endParaRPr lang="vi-VN" sz="2400">
              <a:solidFill>
                <a:schemeClr val="accent5">
                  <a:lumMod val="75000"/>
                </a:schemeClr>
              </a:solidFill>
            </a:endParaRPr>
          </a:p>
        </p:txBody>
      </p:sp>
      <p:grpSp>
        <p:nvGrpSpPr>
          <p:cNvPr id="37" name="Big_data2" descr="{&quot;Key&quot;:&quot;POWER_USER_SHAPE_ICON&quot;,&quot;Value&quot;:&quot;POWER_USER_SHAPE_ICON_STYLE_1&quot;}">
            <a:extLst>
              <a:ext uri="{FF2B5EF4-FFF2-40B4-BE49-F238E27FC236}">
                <a16:creationId xmlns:a16="http://schemas.microsoft.com/office/drawing/2014/main" id="{34657B07-B3AB-4D46-AB42-9E99EF9891F9}"/>
              </a:ext>
            </a:extLst>
          </p:cNvPr>
          <p:cNvGrpSpPr>
            <a:grpSpLocks noChangeAspect="1"/>
          </p:cNvGrpSpPr>
          <p:nvPr/>
        </p:nvGrpSpPr>
        <p:grpSpPr>
          <a:xfrm>
            <a:off x="572788" y="3474164"/>
            <a:ext cx="528608" cy="914400"/>
            <a:chOff x="5191125" y="309563"/>
            <a:chExt cx="452438" cy="782638"/>
          </a:xfrm>
          <a:noFill/>
        </p:grpSpPr>
        <p:sp>
          <p:nvSpPr>
            <p:cNvPr id="38" name="Freeform 98">
              <a:extLst>
                <a:ext uri="{FF2B5EF4-FFF2-40B4-BE49-F238E27FC236}">
                  <a16:creationId xmlns:a16="http://schemas.microsoft.com/office/drawing/2014/main" id="{942F156E-0D26-4A4A-A6E4-ADE32DA0A2BD}"/>
                </a:ext>
              </a:extLst>
            </p:cNvPr>
            <p:cNvSpPr>
              <a:spLocks/>
            </p:cNvSpPr>
            <p:nvPr/>
          </p:nvSpPr>
          <p:spPr bwMode="auto">
            <a:xfrm>
              <a:off x="5354638" y="1041400"/>
              <a:ext cx="125413" cy="46038"/>
            </a:xfrm>
            <a:custGeom>
              <a:avLst/>
              <a:gdLst>
                <a:gd name="T0" fmla="*/ 153 w 186"/>
                <a:gd name="T1" fmla="*/ 67 h 67"/>
                <a:gd name="T2" fmla="*/ 33 w 186"/>
                <a:gd name="T3" fmla="*/ 67 h 67"/>
                <a:gd name="T4" fmla="*/ 0 w 186"/>
                <a:gd name="T5" fmla="*/ 34 h 67"/>
                <a:gd name="T6" fmla="*/ 0 w 186"/>
                <a:gd name="T7" fmla="*/ 34 h 67"/>
                <a:gd name="T8" fmla="*/ 33 w 186"/>
                <a:gd name="T9" fmla="*/ 0 h 67"/>
                <a:gd name="T10" fmla="*/ 153 w 186"/>
                <a:gd name="T11" fmla="*/ 0 h 67"/>
                <a:gd name="T12" fmla="*/ 186 w 186"/>
                <a:gd name="T13" fmla="*/ 34 h 67"/>
                <a:gd name="T14" fmla="*/ 186 w 186"/>
                <a:gd name="T15" fmla="*/ 34 h 67"/>
                <a:gd name="T16" fmla="*/ 153 w 186"/>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67">
                  <a:moveTo>
                    <a:pt x="153" y="67"/>
                  </a:moveTo>
                  <a:lnTo>
                    <a:pt x="33" y="67"/>
                  </a:lnTo>
                  <a:cubicBezTo>
                    <a:pt x="15" y="67"/>
                    <a:pt x="0" y="52"/>
                    <a:pt x="0" y="34"/>
                  </a:cubicBezTo>
                  <a:lnTo>
                    <a:pt x="0" y="34"/>
                  </a:lnTo>
                  <a:cubicBezTo>
                    <a:pt x="0" y="15"/>
                    <a:pt x="15" y="0"/>
                    <a:pt x="33" y="0"/>
                  </a:cubicBezTo>
                  <a:lnTo>
                    <a:pt x="153" y="0"/>
                  </a:lnTo>
                  <a:cubicBezTo>
                    <a:pt x="171" y="0"/>
                    <a:pt x="186" y="15"/>
                    <a:pt x="186" y="34"/>
                  </a:cubicBezTo>
                  <a:lnTo>
                    <a:pt x="186" y="34"/>
                  </a:lnTo>
                  <a:cubicBezTo>
                    <a:pt x="186" y="52"/>
                    <a:pt x="171" y="67"/>
                    <a:pt x="153" y="67"/>
                  </a:cubicBezTo>
                  <a:close/>
                </a:path>
              </a:pathLst>
            </a:custGeom>
            <a:grpFill/>
            <a:ln w="38100">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39" name="Oval 99">
              <a:extLst>
                <a:ext uri="{FF2B5EF4-FFF2-40B4-BE49-F238E27FC236}">
                  <a16:creationId xmlns:a16="http://schemas.microsoft.com/office/drawing/2014/main" id="{F493029C-81FF-4457-A3A5-CFE63B50715C}"/>
                </a:ext>
              </a:extLst>
            </p:cNvPr>
            <p:cNvSpPr>
              <a:spLocks noChangeArrowheads="1"/>
            </p:cNvSpPr>
            <p:nvPr/>
          </p:nvSpPr>
          <p:spPr bwMode="auto">
            <a:xfrm>
              <a:off x="5200650" y="315913"/>
              <a:ext cx="433388" cy="166688"/>
            </a:xfrm>
            <a:prstGeom prst="ellipse">
              <a:avLst/>
            </a:prstGeom>
            <a:grpFill/>
            <a:ln w="38100">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40" name="Freeform 100">
              <a:extLst>
                <a:ext uri="{FF2B5EF4-FFF2-40B4-BE49-F238E27FC236}">
                  <a16:creationId xmlns:a16="http://schemas.microsoft.com/office/drawing/2014/main" id="{DBAFDEB6-0224-4ED5-8C45-28CA33B4F10D}"/>
                </a:ext>
              </a:extLst>
            </p:cNvPr>
            <p:cNvSpPr>
              <a:spLocks/>
            </p:cNvSpPr>
            <p:nvPr/>
          </p:nvSpPr>
          <p:spPr bwMode="auto">
            <a:xfrm>
              <a:off x="5200650" y="415925"/>
              <a:ext cx="433388" cy="534988"/>
            </a:xfrm>
            <a:custGeom>
              <a:avLst/>
              <a:gdLst>
                <a:gd name="T0" fmla="*/ 642 w 643"/>
                <a:gd name="T1" fmla="*/ 668 h 792"/>
                <a:gd name="T2" fmla="*/ 642 w 643"/>
                <a:gd name="T3" fmla="*/ 676 h 792"/>
                <a:gd name="T4" fmla="*/ 321 w 643"/>
                <a:gd name="T5" fmla="*/ 791 h 792"/>
                <a:gd name="T6" fmla="*/ 0 w 643"/>
                <a:gd name="T7" fmla="*/ 677 h 792"/>
                <a:gd name="T8" fmla="*/ 0 w 643"/>
                <a:gd name="T9" fmla="*/ 668 h 792"/>
                <a:gd name="T10" fmla="*/ 0 w 643"/>
                <a:gd name="T11" fmla="*/ 0 h 792"/>
                <a:gd name="T12" fmla="*/ 65 w 643"/>
                <a:gd name="T13" fmla="*/ 46 h 792"/>
                <a:gd name="T14" fmla="*/ 303 w 643"/>
                <a:gd name="T15" fmla="*/ 96 h 792"/>
                <a:gd name="T16" fmla="*/ 558 w 643"/>
                <a:gd name="T17" fmla="*/ 54 h 792"/>
                <a:gd name="T18" fmla="*/ 642 w 643"/>
                <a:gd name="T19" fmla="*/ 6 h 792"/>
                <a:gd name="T20" fmla="*/ 642 w 643"/>
                <a:gd name="T21" fmla="*/ 668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3" h="792">
                  <a:moveTo>
                    <a:pt x="642" y="668"/>
                  </a:moveTo>
                  <a:cubicBezTo>
                    <a:pt x="642" y="670"/>
                    <a:pt x="643" y="673"/>
                    <a:pt x="642" y="676"/>
                  </a:cubicBezTo>
                  <a:cubicBezTo>
                    <a:pt x="636" y="743"/>
                    <a:pt x="458" y="790"/>
                    <a:pt x="321" y="791"/>
                  </a:cubicBezTo>
                  <a:cubicBezTo>
                    <a:pt x="193" y="792"/>
                    <a:pt x="14" y="753"/>
                    <a:pt x="0" y="677"/>
                  </a:cubicBezTo>
                  <a:cubicBezTo>
                    <a:pt x="0" y="674"/>
                    <a:pt x="0" y="670"/>
                    <a:pt x="0" y="668"/>
                  </a:cubicBezTo>
                  <a:lnTo>
                    <a:pt x="0" y="0"/>
                  </a:lnTo>
                  <a:cubicBezTo>
                    <a:pt x="14" y="13"/>
                    <a:pt x="36" y="30"/>
                    <a:pt x="65" y="46"/>
                  </a:cubicBezTo>
                  <a:cubicBezTo>
                    <a:pt x="148" y="92"/>
                    <a:pt x="225" y="95"/>
                    <a:pt x="303" y="96"/>
                  </a:cubicBezTo>
                  <a:cubicBezTo>
                    <a:pt x="371" y="98"/>
                    <a:pt x="459" y="99"/>
                    <a:pt x="558" y="54"/>
                  </a:cubicBezTo>
                  <a:cubicBezTo>
                    <a:pt x="594" y="38"/>
                    <a:pt x="623" y="20"/>
                    <a:pt x="642" y="6"/>
                  </a:cubicBezTo>
                  <a:lnTo>
                    <a:pt x="642" y="668"/>
                  </a:lnTo>
                </a:path>
              </a:pathLst>
            </a:custGeom>
            <a:grpFill/>
            <a:ln w="38100">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41" name="Freeform 101">
              <a:extLst>
                <a:ext uri="{FF2B5EF4-FFF2-40B4-BE49-F238E27FC236}">
                  <a16:creationId xmlns:a16="http://schemas.microsoft.com/office/drawing/2014/main" id="{F0EA3DA1-09AD-4681-ABF7-D318B6C5E460}"/>
                </a:ext>
              </a:extLst>
            </p:cNvPr>
            <p:cNvSpPr>
              <a:spLocks/>
            </p:cNvSpPr>
            <p:nvPr/>
          </p:nvSpPr>
          <p:spPr bwMode="auto">
            <a:xfrm>
              <a:off x="5200650" y="555625"/>
              <a:ext cx="433388" cy="239713"/>
            </a:xfrm>
            <a:custGeom>
              <a:avLst/>
              <a:gdLst>
                <a:gd name="T0" fmla="*/ 0 w 642"/>
                <a:gd name="T1" fmla="*/ 232 h 355"/>
                <a:gd name="T2" fmla="*/ 321 w 642"/>
                <a:gd name="T3" fmla="*/ 355 h 355"/>
                <a:gd name="T4" fmla="*/ 642 w 642"/>
                <a:gd name="T5" fmla="*/ 232 h 355"/>
                <a:gd name="T6" fmla="*/ 642 w 642"/>
                <a:gd name="T7" fmla="*/ 0 h 355"/>
                <a:gd name="T8" fmla="*/ 321 w 642"/>
                <a:gd name="T9" fmla="*/ 123 h 355"/>
                <a:gd name="T10" fmla="*/ 0 w 642"/>
                <a:gd name="T11" fmla="*/ 0 h 355"/>
                <a:gd name="T12" fmla="*/ 0 w 642"/>
                <a:gd name="T13" fmla="*/ 232 h 355"/>
              </a:gdLst>
              <a:ahLst/>
              <a:cxnLst>
                <a:cxn ang="0">
                  <a:pos x="T0" y="T1"/>
                </a:cxn>
                <a:cxn ang="0">
                  <a:pos x="T2" y="T3"/>
                </a:cxn>
                <a:cxn ang="0">
                  <a:pos x="T4" y="T5"/>
                </a:cxn>
                <a:cxn ang="0">
                  <a:pos x="T6" y="T7"/>
                </a:cxn>
                <a:cxn ang="0">
                  <a:pos x="T8" y="T9"/>
                </a:cxn>
                <a:cxn ang="0">
                  <a:pos x="T10" y="T11"/>
                </a:cxn>
                <a:cxn ang="0">
                  <a:pos x="T12" y="T13"/>
                </a:cxn>
              </a:cxnLst>
              <a:rect l="0" t="0" r="r" b="b"/>
              <a:pathLst>
                <a:path w="642" h="355">
                  <a:moveTo>
                    <a:pt x="0" y="232"/>
                  </a:moveTo>
                  <a:cubicBezTo>
                    <a:pt x="0" y="300"/>
                    <a:pt x="143" y="355"/>
                    <a:pt x="321" y="355"/>
                  </a:cubicBezTo>
                  <a:cubicBezTo>
                    <a:pt x="498" y="355"/>
                    <a:pt x="642" y="300"/>
                    <a:pt x="642" y="232"/>
                  </a:cubicBezTo>
                  <a:lnTo>
                    <a:pt x="642" y="0"/>
                  </a:lnTo>
                  <a:cubicBezTo>
                    <a:pt x="642" y="68"/>
                    <a:pt x="498" y="123"/>
                    <a:pt x="321" y="123"/>
                  </a:cubicBezTo>
                  <a:cubicBezTo>
                    <a:pt x="143" y="123"/>
                    <a:pt x="0" y="68"/>
                    <a:pt x="0" y="0"/>
                  </a:cubicBezTo>
                  <a:lnTo>
                    <a:pt x="0" y="232"/>
                  </a:lnTo>
                  <a:close/>
                </a:path>
              </a:pathLst>
            </a:custGeom>
            <a:grpFill/>
            <a:ln w="38100">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42" name="Rectangle 102">
              <a:extLst>
                <a:ext uri="{FF2B5EF4-FFF2-40B4-BE49-F238E27FC236}">
                  <a16:creationId xmlns:a16="http://schemas.microsoft.com/office/drawing/2014/main" id="{F7CC37A4-715F-4BDA-BAA6-0D00436CE6D6}"/>
                </a:ext>
              </a:extLst>
            </p:cNvPr>
            <p:cNvSpPr>
              <a:spLocks noChangeArrowheads="1"/>
            </p:cNvSpPr>
            <p:nvPr/>
          </p:nvSpPr>
          <p:spPr bwMode="auto">
            <a:xfrm>
              <a:off x="5400675" y="393700"/>
              <a:ext cx="33338" cy="11113"/>
            </a:xfrm>
            <a:prstGeom prst="rect">
              <a:avLst/>
            </a:prstGeom>
            <a:grpFill/>
            <a:ln w="38100">
              <a:solidFill>
                <a:srgbClr val="0070C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43" name="Freeform 103">
              <a:extLst>
                <a:ext uri="{FF2B5EF4-FFF2-40B4-BE49-F238E27FC236}">
                  <a16:creationId xmlns:a16="http://schemas.microsoft.com/office/drawing/2014/main" id="{BA606775-42FC-42B7-AE8F-54DFE5701A8F}"/>
                </a:ext>
              </a:extLst>
            </p:cNvPr>
            <p:cNvSpPr>
              <a:spLocks noEditPoints="1"/>
            </p:cNvSpPr>
            <p:nvPr/>
          </p:nvSpPr>
          <p:spPr bwMode="auto">
            <a:xfrm>
              <a:off x="5195888" y="309563"/>
              <a:ext cx="444500" cy="177800"/>
            </a:xfrm>
            <a:custGeom>
              <a:avLst/>
              <a:gdLst>
                <a:gd name="T0" fmla="*/ 330 w 660"/>
                <a:gd name="T1" fmla="*/ 17 h 263"/>
                <a:gd name="T2" fmla="*/ 17 w 660"/>
                <a:gd name="T3" fmla="*/ 131 h 263"/>
                <a:gd name="T4" fmla="*/ 330 w 660"/>
                <a:gd name="T5" fmla="*/ 246 h 263"/>
                <a:gd name="T6" fmla="*/ 643 w 660"/>
                <a:gd name="T7" fmla="*/ 131 h 263"/>
                <a:gd name="T8" fmla="*/ 330 w 660"/>
                <a:gd name="T9" fmla="*/ 17 h 263"/>
                <a:gd name="T10" fmla="*/ 330 w 660"/>
                <a:gd name="T11" fmla="*/ 263 h 263"/>
                <a:gd name="T12" fmla="*/ 0 w 660"/>
                <a:gd name="T13" fmla="*/ 131 h 263"/>
                <a:gd name="T14" fmla="*/ 330 w 660"/>
                <a:gd name="T15" fmla="*/ 0 h 263"/>
                <a:gd name="T16" fmla="*/ 660 w 660"/>
                <a:gd name="T17" fmla="*/ 131 h 263"/>
                <a:gd name="T18" fmla="*/ 330 w 660"/>
                <a:gd name="T19"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0" h="263">
                  <a:moveTo>
                    <a:pt x="330" y="17"/>
                  </a:moveTo>
                  <a:cubicBezTo>
                    <a:pt x="160" y="17"/>
                    <a:pt x="17" y="69"/>
                    <a:pt x="17" y="131"/>
                  </a:cubicBezTo>
                  <a:cubicBezTo>
                    <a:pt x="17" y="194"/>
                    <a:pt x="160" y="246"/>
                    <a:pt x="330" y="246"/>
                  </a:cubicBezTo>
                  <a:cubicBezTo>
                    <a:pt x="500" y="246"/>
                    <a:pt x="643" y="194"/>
                    <a:pt x="643" y="131"/>
                  </a:cubicBezTo>
                  <a:cubicBezTo>
                    <a:pt x="643" y="69"/>
                    <a:pt x="500" y="17"/>
                    <a:pt x="330" y="17"/>
                  </a:cubicBezTo>
                  <a:close/>
                  <a:moveTo>
                    <a:pt x="330" y="263"/>
                  </a:moveTo>
                  <a:cubicBezTo>
                    <a:pt x="145" y="263"/>
                    <a:pt x="0" y="205"/>
                    <a:pt x="0" y="131"/>
                  </a:cubicBezTo>
                  <a:cubicBezTo>
                    <a:pt x="0" y="58"/>
                    <a:pt x="145" y="0"/>
                    <a:pt x="330" y="0"/>
                  </a:cubicBezTo>
                  <a:cubicBezTo>
                    <a:pt x="515" y="0"/>
                    <a:pt x="660" y="58"/>
                    <a:pt x="660" y="131"/>
                  </a:cubicBezTo>
                  <a:cubicBezTo>
                    <a:pt x="660" y="205"/>
                    <a:pt x="515" y="263"/>
                    <a:pt x="330" y="263"/>
                  </a:cubicBezTo>
                  <a:close/>
                </a:path>
              </a:pathLst>
            </a:custGeom>
            <a:grpFill/>
            <a:ln w="38100">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44" name="Freeform 104">
              <a:extLst>
                <a:ext uri="{FF2B5EF4-FFF2-40B4-BE49-F238E27FC236}">
                  <a16:creationId xmlns:a16="http://schemas.microsoft.com/office/drawing/2014/main" id="{AF401D0A-BB97-42EA-AE9D-6333CFBA1C24}"/>
                </a:ext>
              </a:extLst>
            </p:cNvPr>
            <p:cNvSpPr>
              <a:spLocks/>
            </p:cNvSpPr>
            <p:nvPr/>
          </p:nvSpPr>
          <p:spPr bwMode="auto">
            <a:xfrm>
              <a:off x="5195888" y="555625"/>
              <a:ext cx="444500" cy="88900"/>
            </a:xfrm>
            <a:custGeom>
              <a:avLst/>
              <a:gdLst>
                <a:gd name="T0" fmla="*/ 330 w 660"/>
                <a:gd name="T1" fmla="*/ 132 h 132"/>
                <a:gd name="T2" fmla="*/ 0 w 660"/>
                <a:gd name="T3" fmla="*/ 0 h 132"/>
                <a:gd name="T4" fmla="*/ 17 w 660"/>
                <a:gd name="T5" fmla="*/ 0 h 132"/>
                <a:gd name="T6" fmla="*/ 330 w 660"/>
                <a:gd name="T7" fmla="*/ 115 h 132"/>
                <a:gd name="T8" fmla="*/ 643 w 660"/>
                <a:gd name="T9" fmla="*/ 0 h 132"/>
                <a:gd name="T10" fmla="*/ 660 w 660"/>
                <a:gd name="T11" fmla="*/ 0 h 132"/>
                <a:gd name="T12" fmla="*/ 330 w 660"/>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660" h="132">
                  <a:moveTo>
                    <a:pt x="330" y="132"/>
                  </a:moveTo>
                  <a:cubicBezTo>
                    <a:pt x="145" y="132"/>
                    <a:pt x="0" y="74"/>
                    <a:pt x="0" y="0"/>
                  </a:cubicBezTo>
                  <a:lnTo>
                    <a:pt x="17" y="0"/>
                  </a:lnTo>
                  <a:cubicBezTo>
                    <a:pt x="17" y="62"/>
                    <a:pt x="160" y="115"/>
                    <a:pt x="330" y="115"/>
                  </a:cubicBezTo>
                  <a:cubicBezTo>
                    <a:pt x="500" y="115"/>
                    <a:pt x="643" y="62"/>
                    <a:pt x="643" y="0"/>
                  </a:cubicBezTo>
                  <a:lnTo>
                    <a:pt x="660" y="0"/>
                  </a:lnTo>
                  <a:cubicBezTo>
                    <a:pt x="660" y="74"/>
                    <a:pt x="515" y="132"/>
                    <a:pt x="330" y="132"/>
                  </a:cubicBezTo>
                  <a:close/>
                </a:path>
              </a:pathLst>
            </a:custGeom>
            <a:grpFill/>
            <a:ln w="38100">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45" name="Freeform 105">
              <a:extLst>
                <a:ext uri="{FF2B5EF4-FFF2-40B4-BE49-F238E27FC236}">
                  <a16:creationId xmlns:a16="http://schemas.microsoft.com/office/drawing/2014/main" id="{CC26015E-8E7A-41E3-A17F-DE803A12CA51}"/>
                </a:ext>
              </a:extLst>
            </p:cNvPr>
            <p:cNvSpPr>
              <a:spLocks/>
            </p:cNvSpPr>
            <p:nvPr/>
          </p:nvSpPr>
          <p:spPr bwMode="auto">
            <a:xfrm>
              <a:off x="5195888" y="711200"/>
              <a:ext cx="444500" cy="88900"/>
            </a:xfrm>
            <a:custGeom>
              <a:avLst/>
              <a:gdLst>
                <a:gd name="T0" fmla="*/ 330 w 660"/>
                <a:gd name="T1" fmla="*/ 131 h 131"/>
                <a:gd name="T2" fmla="*/ 0 w 660"/>
                <a:gd name="T3" fmla="*/ 0 h 131"/>
                <a:gd name="T4" fmla="*/ 17 w 660"/>
                <a:gd name="T5" fmla="*/ 0 h 131"/>
                <a:gd name="T6" fmla="*/ 330 w 660"/>
                <a:gd name="T7" fmla="*/ 114 h 131"/>
                <a:gd name="T8" fmla="*/ 643 w 660"/>
                <a:gd name="T9" fmla="*/ 0 h 131"/>
                <a:gd name="T10" fmla="*/ 660 w 660"/>
                <a:gd name="T11" fmla="*/ 0 h 131"/>
                <a:gd name="T12" fmla="*/ 330 w 660"/>
                <a:gd name="T13" fmla="*/ 131 h 131"/>
              </a:gdLst>
              <a:ahLst/>
              <a:cxnLst>
                <a:cxn ang="0">
                  <a:pos x="T0" y="T1"/>
                </a:cxn>
                <a:cxn ang="0">
                  <a:pos x="T2" y="T3"/>
                </a:cxn>
                <a:cxn ang="0">
                  <a:pos x="T4" y="T5"/>
                </a:cxn>
                <a:cxn ang="0">
                  <a:pos x="T6" y="T7"/>
                </a:cxn>
                <a:cxn ang="0">
                  <a:pos x="T8" y="T9"/>
                </a:cxn>
                <a:cxn ang="0">
                  <a:pos x="T10" y="T11"/>
                </a:cxn>
                <a:cxn ang="0">
                  <a:pos x="T12" y="T13"/>
                </a:cxn>
              </a:cxnLst>
              <a:rect l="0" t="0" r="r" b="b"/>
              <a:pathLst>
                <a:path w="660" h="131">
                  <a:moveTo>
                    <a:pt x="330" y="131"/>
                  </a:moveTo>
                  <a:cubicBezTo>
                    <a:pt x="145" y="131"/>
                    <a:pt x="0" y="73"/>
                    <a:pt x="0" y="0"/>
                  </a:cubicBezTo>
                  <a:lnTo>
                    <a:pt x="17" y="0"/>
                  </a:lnTo>
                  <a:cubicBezTo>
                    <a:pt x="17" y="62"/>
                    <a:pt x="160" y="114"/>
                    <a:pt x="330" y="114"/>
                  </a:cubicBezTo>
                  <a:cubicBezTo>
                    <a:pt x="500" y="114"/>
                    <a:pt x="643" y="62"/>
                    <a:pt x="643" y="0"/>
                  </a:cubicBezTo>
                  <a:lnTo>
                    <a:pt x="660" y="0"/>
                  </a:lnTo>
                  <a:cubicBezTo>
                    <a:pt x="660" y="73"/>
                    <a:pt x="515" y="131"/>
                    <a:pt x="330" y="131"/>
                  </a:cubicBezTo>
                  <a:close/>
                </a:path>
              </a:pathLst>
            </a:custGeom>
            <a:grpFill/>
            <a:ln w="38100">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46" name="Freeform 106">
              <a:extLst>
                <a:ext uri="{FF2B5EF4-FFF2-40B4-BE49-F238E27FC236}">
                  <a16:creationId xmlns:a16="http://schemas.microsoft.com/office/drawing/2014/main" id="{4E929BE6-CD5D-48F9-BB39-3FEF642A11FF}"/>
                </a:ext>
              </a:extLst>
            </p:cNvPr>
            <p:cNvSpPr>
              <a:spLocks/>
            </p:cNvSpPr>
            <p:nvPr/>
          </p:nvSpPr>
          <p:spPr bwMode="auto">
            <a:xfrm>
              <a:off x="5195888" y="868363"/>
              <a:ext cx="444500" cy="88900"/>
            </a:xfrm>
            <a:custGeom>
              <a:avLst/>
              <a:gdLst>
                <a:gd name="T0" fmla="*/ 330 w 660"/>
                <a:gd name="T1" fmla="*/ 132 h 132"/>
                <a:gd name="T2" fmla="*/ 0 w 660"/>
                <a:gd name="T3" fmla="*/ 0 h 132"/>
                <a:gd name="T4" fmla="*/ 17 w 660"/>
                <a:gd name="T5" fmla="*/ 0 h 132"/>
                <a:gd name="T6" fmla="*/ 330 w 660"/>
                <a:gd name="T7" fmla="*/ 115 h 132"/>
                <a:gd name="T8" fmla="*/ 643 w 660"/>
                <a:gd name="T9" fmla="*/ 0 h 132"/>
                <a:gd name="T10" fmla="*/ 660 w 660"/>
                <a:gd name="T11" fmla="*/ 0 h 132"/>
                <a:gd name="T12" fmla="*/ 330 w 660"/>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660" h="132">
                  <a:moveTo>
                    <a:pt x="330" y="132"/>
                  </a:moveTo>
                  <a:cubicBezTo>
                    <a:pt x="145" y="132"/>
                    <a:pt x="0" y="74"/>
                    <a:pt x="0" y="0"/>
                  </a:cubicBezTo>
                  <a:lnTo>
                    <a:pt x="17" y="0"/>
                  </a:lnTo>
                  <a:cubicBezTo>
                    <a:pt x="17" y="62"/>
                    <a:pt x="160" y="115"/>
                    <a:pt x="330" y="115"/>
                  </a:cubicBezTo>
                  <a:cubicBezTo>
                    <a:pt x="500" y="115"/>
                    <a:pt x="643" y="62"/>
                    <a:pt x="643" y="0"/>
                  </a:cubicBezTo>
                  <a:lnTo>
                    <a:pt x="660" y="0"/>
                  </a:lnTo>
                  <a:cubicBezTo>
                    <a:pt x="660" y="74"/>
                    <a:pt x="515" y="132"/>
                    <a:pt x="330" y="132"/>
                  </a:cubicBezTo>
                  <a:close/>
                </a:path>
              </a:pathLst>
            </a:custGeom>
            <a:grpFill/>
            <a:ln w="38100">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47" name="Rectangle 107">
              <a:extLst>
                <a:ext uri="{FF2B5EF4-FFF2-40B4-BE49-F238E27FC236}">
                  <a16:creationId xmlns:a16="http://schemas.microsoft.com/office/drawing/2014/main" id="{356712C7-8D82-4F43-8B5D-6C01CBB914C9}"/>
                </a:ext>
              </a:extLst>
            </p:cNvPr>
            <p:cNvSpPr>
              <a:spLocks noChangeArrowheads="1"/>
            </p:cNvSpPr>
            <p:nvPr/>
          </p:nvSpPr>
          <p:spPr bwMode="auto">
            <a:xfrm>
              <a:off x="5195888" y="398463"/>
              <a:ext cx="11113" cy="234950"/>
            </a:xfrm>
            <a:prstGeom prst="rect">
              <a:avLst/>
            </a:prstGeom>
            <a:grpFill/>
            <a:ln w="38100">
              <a:solidFill>
                <a:srgbClr val="0070C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48" name="Rectangle 108">
              <a:extLst>
                <a:ext uri="{FF2B5EF4-FFF2-40B4-BE49-F238E27FC236}">
                  <a16:creationId xmlns:a16="http://schemas.microsoft.com/office/drawing/2014/main" id="{B604757E-70BC-42B0-9FEE-8C81878D85F2}"/>
                </a:ext>
              </a:extLst>
            </p:cNvPr>
            <p:cNvSpPr>
              <a:spLocks noChangeArrowheads="1"/>
            </p:cNvSpPr>
            <p:nvPr/>
          </p:nvSpPr>
          <p:spPr bwMode="auto">
            <a:xfrm>
              <a:off x="5629275" y="398463"/>
              <a:ext cx="11113" cy="234950"/>
            </a:xfrm>
            <a:prstGeom prst="rect">
              <a:avLst/>
            </a:prstGeom>
            <a:grpFill/>
            <a:ln w="38100">
              <a:solidFill>
                <a:srgbClr val="0070C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49" name="Rectangle 109">
              <a:extLst>
                <a:ext uri="{FF2B5EF4-FFF2-40B4-BE49-F238E27FC236}">
                  <a16:creationId xmlns:a16="http://schemas.microsoft.com/office/drawing/2014/main" id="{805897E8-271B-42AB-9066-869FD37315B0}"/>
                </a:ext>
              </a:extLst>
            </p:cNvPr>
            <p:cNvSpPr>
              <a:spLocks noChangeArrowheads="1"/>
            </p:cNvSpPr>
            <p:nvPr/>
          </p:nvSpPr>
          <p:spPr bwMode="auto">
            <a:xfrm>
              <a:off x="5195888" y="633413"/>
              <a:ext cx="11113" cy="234950"/>
            </a:xfrm>
            <a:prstGeom prst="rect">
              <a:avLst/>
            </a:prstGeom>
            <a:grpFill/>
            <a:ln w="38100">
              <a:solidFill>
                <a:srgbClr val="0070C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50" name="Rectangle 110">
              <a:extLst>
                <a:ext uri="{FF2B5EF4-FFF2-40B4-BE49-F238E27FC236}">
                  <a16:creationId xmlns:a16="http://schemas.microsoft.com/office/drawing/2014/main" id="{DAFD14E1-4FF3-4136-92E2-52C8CD967381}"/>
                </a:ext>
              </a:extLst>
            </p:cNvPr>
            <p:cNvSpPr>
              <a:spLocks noChangeArrowheads="1"/>
            </p:cNvSpPr>
            <p:nvPr/>
          </p:nvSpPr>
          <p:spPr bwMode="auto">
            <a:xfrm>
              <a:off x="5629275" y="633413"/>
              <a:ext cx="11113" cy="234950"/>
            </a:xfrm>
            <a:prstGeom prst="rect">
              <a:avLst/>
            </a:prstGeom>
            <a:grpFill/>
            <a:ln w="38100">
              <a:solidFill>
                <a:srgbClr val="0070C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51" name="Rectangle 111">
              <a:extLst>
                <a:ext uri="{FF2B5EF4-FFF2-40B4-BE49-F238E27FC236}">
                  <a16:creationId xmlns:a16="http://schemas.microsoft.com/office/drawing/2014/main" id="{D7408096-044D-42B2-9901-EF6488FD449F}"/>
                </a:ext>
              </a:extLst>
            </p:cNvPr>
            <p:cNvSpPr>
              <a:spLocks noChangeArrowheads="1"/>
            </p:cNvSpPr>
            <p:nvPr/>
          </p:nvSpPr>
          <p:spPr bwMode="auto">
            <a:xfrm>
              <a:off x="5411788" y="950913"/>
              <a:ext cx="11113" cy="90488"/>
            </a:xfrm>
            <a:prstGeom prst="rect">
              <a:avLst/>
            </a:prstGeom>
            <a:grpFill/>
            <a:ln w="38100">
              <a:solidFill>
                <a:srgbClr val="0070C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52" name="Freeform 112">
              <a:extLst>
                <a:ext uri="{FF2B5EF4-FFF2-40B4-BE49-F238E27FC236}">
                  <a16:creationId xmlns:a16="http://schemas.microsoft.com/office/drawing/2014/main" id="{D14E5796-41DA-4737-A2C3-A3FC6BDE0133}"/>
                </a:ext>
              </a:extLst>
            </p:cNvPr>
            <p:cNvSpPr>
              <a:spLocks noEditPoints="1"/>
            </p:cNvSpPr>
            <p:nvPr/>
          </p:nvSpPr>
          <p:spPr bwMode="auto">
            <a:xfrm>
              <a:off x="5348288" y="1036638"/>
              <a:ext cx="138113" cy="55563"/>
            </a:xfrm>
            <a:custGeom>
              <a:avLst/>
              <a:gdLst>
                <a:gd name="T0" fmla="*/ 42 w 203"/>
                <a:gd name="T1" fmla="*/ 17 h 83"/>
                <a:gd name="T2" fmla="*/ 17 w 203"/>
                <a:gd name="T3" fmla="*/ 42 h 83"/>
                <a:gd name="T4" fmla="*/ 42 w 203"/>
                <a:gd name="T5" fmla="*/ 67 h 83"/>
                <a:gd name="T6" fmla="*/ 162 w 203"/>
                <a:gd name="T7" fmla="*/ 67 h 83"/>
                <a:gd name="T8" fmla="*/ 187 w 203"/>
                <a:gd name="T9" fmla="*/ 42 h 83"/>
                <a:gd name="T10" fmla="*/ 162 w 203"/>
                <a:gd name="T11" fmla="*/ 17 h 83"/>
                <a:gd name="T12" fmla="*/ 42 w 203"/>
                <a:gd name="T13" fmla="*/ 17 h 83"/>
                <a:gd name="T14" fmla="*/ 162 w 203"/>
                <a:gd name="T15" fmla="*/ 83 h 83"/>
                <a:gd name="T16" fmla="*/ 42 w 203"/>
                <a:gd name="T17" fmla="*/ 83 h 83"/>
                <a:gd name="T18" fmla="*/ 0 w 203"/>
                <a:gd name="T19" fmla="*/ 42 h 83"/>
                <a:gd name="T20" fmla="*/ 42 w 203"/>
                <a:gd name="T21" fmla="*/ 0 h 83"/>
                <a:gd name="T22" fmla="*/ 162 w 203"/>
                <a:gd name="T23" fmla="*/ 0 h 83"/>
                <a:gd name="T24" fmla="*/ 203 w 203"/>
                <a:gd name="T25" fmla="*/ 42 h 83"/>
                <a:gd name="T26" fmla="*/ 162 w 203"/>
                <a:gd name="T2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3" h="83">
                  <a:moveTo>
                    <a:pt x="42" y="17"/>
                  </a:moveTo>
                  <a:cubicBezTo>
                    <a:pt x="28" y="17"/>
                    <a:pt x="17" y="28"/>
                    <a:pt x="17" y="42"/>
                  </a:cubicBezTo>
                  <a:cubicBezTo>
                    <a:pt x="17" y="55"/>
                    <a:pt x="28" y="67"/>
                    <a:pt x="42" y="67"/>
                  </a:cubicBezTo>
                  <a:lnTo>
                    <a:pt x="162" y="67"/>
                  </a:lnTo>
                  <a:cubicBezTo>
                    <a:pt x="175" y="67"/>
                    <a:pt x="187" y="55"/>
                    <a:pt x="187" y="42"/>
                  </a:cubicBezTo>
                  <a:cubicBezTo>
                    <a:pt x="187" y="28"/>
                    <a:pt x="175" y="17"/>
                    <a:pt x="162" y="17"/>
                  </a:cubicBezTo>
                  <a:lnTo>
                    <a:pt x="42" y="17"/>
                  </a:lnTo>
                  <a:close/>
                  <a:moveTo>
                    <a:pt x="162" y="83"/>
                  </a:moveTo>
                  <a:lnTo>
                    <a:pt x="42" y="83"/>
                  </a:lnTo>
                  <a:cubicBezTo>
                    <a:pt x="19" y="83"/>
                    <a:pt x="0" y="64"/>
                    <a:pt x="0" y="42"/>
                  </a:cubicBezTo>
                  <a:cubicBezTo>
                    <a:pt x="0" y="19"/>
                    <a:pt x="19" y="0"/>
                    <a:pt x="42" y="0"/>
                  </a:cubicBezTo>
                  <a:lnTo>
                    <a:pt x="162" y="0"/>
                  </a:lnTo>
                  <a:cubicBezTo>
                    <a:pt x="185" y="0"/>
                    <a:pt x="203" y="19"/>
                    <a:pt x="203" y="42"/>
                  </a:cubicBezTo>
                  <a:cubicBezTo>
                    <a:pt x="203" y="64"/>
                    <a:pt x="185" y="83"/>
                    <a:pt x="162" y="83"/>
                  </a:cubicBezTo>
                  <a:close/>
                </a:path>
              </a:pathLst>
            </a:custGeom>
            <a:grpFill/>
            <a:ln w="38100">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53" name="Rectangle 113">
              <a:extLst>
                <a:ext uri="{FF2B5EF4-FFF2-40B4-BE49-F238E27FC236}">
                  <a16:creationId xmlns:a16="http://schemas.microsoft.com/office/drawing/2014/main" id="{205EAB5D-8021-4252-922F-2394641649C1}"/>
                </a:ext>
              </a:extLst>
            </p:cNvPr>
            <p:cNvSpPr>
              <a:spLocks noChangeArrowheads="1"/>
            </p:cNvSpPr>
            <p:nvPr/>
          </p:nvSpPr>
          <p:spPr bwMode="auto">
            <a:xfrm>
              <a:off x="5480050" y="1058863"/>
              <a:ext cx="163513" cy="11113"/>
            </a:xfrm>
            <a:prstGeom prst="rect">
              <a:avLst/>
            </a:prstGeom>
            <a:grpFill/>
            <a:ln w="38100">
              <a:solidFill>
                <a:srgbClr val="0070C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54" name="Rectangle 114">
              <a:extLst>
                <a:ext uri="{FF2B5EF4-FFF2-40B4-BE49-F238E27FC236}">
                  <a16:creationId xmlns:a16="http://schemas.microsoft.com/office/drawing/2014/main" id="{161E1B35-A97D-4E5D-9141-ED0EB4D2F5D5}"/>
                </a:ext>
              </a:extLst>
            </p:cNvPr>
            <p:cNvSpPr>
              <a:spLocks noChangeArrowheads="1"/>
            </p:cNvSpPr>
            <p:nvPr/>
          </p:nvSpPr>
          <p:spPr bwMode="auto">
            <a:xfrm>
              <a:off x="5191125" y="1058863"/>
              <a:ext cx="163513" cy="11113"/>
            </a:xfrm>
            <a:prstGeom prst="rect">
              <a:avLst/>
            </a:prstGeom>
            <a:grpFill/>
            <a:ln w="38100">
              <a:solidFill>
                <a:srgbClr val="0070C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grpSp>
      <p:sp>
        <p:nvSpPr>
          <p:cNvPr id="55" name="TextBox 54">
            <a:extLst>
              <a:ext uri="{FF2B5EF4-FFF2-40B4-BE49-F238E27FC236}">
                <a16:creationId xmlns:a16="http://schemas.microsoft.com/office/drawing/2014/main" id="{00F1D931-E731-42BE-8D76-ED7BA18B4712}"/>
              </a:ext>
            </a:extLst>
          </p:cNvPr>
          <p:cNvSpPr txBox="1"/>
          <p:nvPr/>
        </p:nvSpPr>
        <p:spPr>
          <a:xfrm>
            <a:off x="1542919" y="3680128"/>
            <a:ext cx="4190571" cy="584775"/>
          </a:xfrm>
          <a:prstGeom prst="rect">
            <a:avLst/>
          </a:prstGeom>
          <a:noFill/>
        </p:spPr>
        <p:txBody>
          <a:bodyPr wrap="none" rtlCol="0">
            <a:spAutoFit/>
          </a:bodyPr>
          <a:lstStyle/>
          <a:p>
            <a:r>
              <a:rPr lang="en-US" sz="3200">
                <a:solidFill>
                  <a:schemeClr val="tx1">
                    <a:lumMod val="85000"/>
                    <a:lumOff val="15000"/>
                  </a:schemeClr>
                </a:solidFill>
              </a:rPr>
              <a:t>Các tr</a:t>
            </a:r>
            <a:r>
              <a:rPr lang="vi-VN" sz="3200">
                <a:solidFill>
                  <a:schemeClr val="tx1">
                    <a:lumMod val="85000"/>
                    <a:lumOff val="15000"/>
                  </a:schemeClr>
                </a:solidFill>
              </a:rPr>
              <a:t>ư</a:t>
            </a:r>
            <a:r>
              <a:rPr lang="en-US" sz="3200">
                <a:solidFill>
                  <a:schemeClr val="tx1">
                    <a:lumMod val="85000"/>
                    <a:lumOff val="15000"/>
                  </a:schemeClr>
                </a:solidFill>
              </a:rPr>
              <a:t>ờng và dữ liệu</a:t>
            </a:r>
            <a:endParaRPr lang="vi-VN" sz="3200">
              <a:solidFill>
                <a:schemeClr val="tx1">
                  <a:lumMod val="85000"/>
                  <a:lumOff val="15000"/>
                </a:schemeClr>
              </a:solidFill>
            </a:endParaRPr>
          </a:p>
        </p:txBody>
      </p:sp>
      <p:sp>
        <p:nvSpPr>
          <p:cNvPr id="56" name="TextBox 55">
            <a:extLst>
              <a:ext uri="{FF2B5EF4-FFF2-40B4-BE49-F238E27FC236}">
                <a16:creationId xmlns:a16="http://schemas.microsoft.com/office/drawing/2014/main" id="{2A1D62B6-AD6D-4C7B-BDBF-DAEDF5FA66ED}"/>
              </a:ext>
            </a:extLst>
          </p:cNvPr>
          <p:cNvSpPr txBox="1"/>
          <p:nvPr/>
        </p:nvSpPr>
        <p:spPr>
          <a:xfrm flipH="1">
            <a:off x="1034300" y="4611135"/>
            <a:ext cx="10072995" cy="1200329"/>
          </a:xfrm>
          <a:prstGeom prst="rect">
            <a:avLst/>
          </a:prstGeom>
          <a:noFill/>
        </p:spPr>
        <p:txBody>
          <a:bodyPr wrap="square" rtlCol="0">
            <a:spAutoFit/>
          </a:bodyPr>
          <a:lstStyle/>
          <a:p>
            <a:pPr marL="342900" indent="-342900">
              <a:buFont typeface="Wingdings" panose="05000000000000000000" pitchFamily="2" charset="2"/>
              <a:buChar char="§"/>
            </a:pPr>
            <a:r>
              <a:rPr lang="en-US" sz="2400">
                <a:solidFill>
                  <a:schemeClr val="tx1">
                    <a:lumMod val="85000"/>
                    <a:lumOff val="15000"/>
                  </a:schemeClr>
                </a:solidFill>
              </a:rPr>
              <a:t>Mỗi tr</a:t>
            </a:r>
            <a:r>
              <a:rPr lang="vi-VN" sz="2400">
                <a:solidFill>
                  <a:schemeClr val="tx1">
                    <a:lumMod val="85000"/>
                    <a:lumOff val="15000"/>
                  </a:schemeClr>
                </a:solidFill>
              </a:rPr>
              <a:t>ư</a:t>
            </a:r>
            <a:r>
              <a:rPr lang="en-US" sz="2400">
                <a:solidFill>
                  <a:schemeClr val="tx1">
                    <a:lumMod val="85000"/>
                    <a:lumOff val="15000"/>
                  </a:schemeClr>
                </a:solidFill>
              </a:rPr>
              <a:t>ờng cần xác định kiểu dữ liệu.</a:t>
            </a:r>
          </a:p>
          <a:p>
            <a:pPr marL="342900" indent="-342900">
              <a:buFont typeface="Wingdings" panose="05000000000000000000" pitchFamily="2" charset="2"/>
              <a:buChar char="§"/>
            </a:pPr>
            <a:r>
              <a:rPr lang="en-US" sz="2400">
                <a:solidFill>
                  <a:schemeClr val="tx1">
                    <a:lumMod val="85000"/>
                    <a:lumOff val="15000"/>
                  </a:schemeClr>
                </a:solidFill>
              </a:rPr>
              <a:t>Mục đích: hạn chế việc lãng phí dung l</a:t>
            </a:r>
            <a:r>
              <a:rPr lang="vi-VN" sz="2400">
                <a:solidFill>
                  <a:schemeClr val="tx1">
                    <a:lumMod val="85000"/>
                    <a:lumOff val="15000"/>
                  </a:schemeClr>
                </a:solidFill>
              </a:rPr>
              <a:t>ư</a:t>
            </a:r>
            <a:r>
              <a:rPr lang="en-US" sz="2400">
                <a:solidFill>
                  <a:schemeClr val="tx1">
                    <a:lumMod val="85000"/>
                    <a:lumOff val="15000"/>
                  </a:schemeClr>
                </a:solidFill>
              </a:rPr>
              <a:t>ợng l</a:t>
            </a:r>
            <a:r>
              <a:rPr lang="vi-VN" sz="2400">
                <a:solidFill>
                  <a:schemeClr val="tx1">
                    <a:lumMod val="85000"/>
                    <a:lumOff val="15000"/>
                  </a:schemeClr>
                </a:solidFill>
              </a:rPr>
              <a:t>ư</a:t>
            </a:r>
            <a:r>
              <a:rPr lang="en-US" sz="2400">
                <a:solidFill>
                  <a:schemeClr val="tx1">
                    <a:lumMod val="85000"/>
                    <a:lumOff val="15000"/>
                  </a:schemeClr>
                </a:solidFill>
              </a:rPr>
              <a:t>u trữ dữ liệu, kiểm soát tính đúng đắn về logic của dữ liệu đ</a:t>
            </a:r>
            <a:r>
              <a:rPr lang="vi-VN" sz="2400">
                <a:solidFill>
                  <a:schemeClr val="tx1">
                    <a:lumMod val="85000"/>
                    <a:lumOff val="15000"/>
                  </a:schemeClr>
                </a:solidFill>
              </a:rPr>
              <a:t>ư</a:t>
            </a:r>
            <a:r>
              <a:rPr lang="en-US" sz="2400">
                <a:solidFill>
                  <a:schemeClr val="tx1">
                    <a:lumMod val="85000"/>
                    <a:lumOff val="15000"/>
                  </a:schemeClr>
                </a:solidFill>
              </a:rPr>
              <a:t>ợc nhập vào bảng.</a:t>
            </a:r>
            <a:endParaRPr lang="vi-VN" sz="2400">
              <a:solidFill>
                <a:schemeClr val="accent5">
                  <a:lumMod val="75000"/>
                </a:schemeClr>
              </a:solidFill>
            </a:endParaRPr>
          </a:p>
        </p:txBody>
      </p:sp>
    </p:spTree>
    <p:extLst>
      <p:ext uri="{BB962C8B-B14F-4D97-AF65-F5344CB8AC3E}">
        <p14:creationId xmlns:p14="http://schemas.microsoft.com/office/powerpoint/2010/main" val="351463141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barn(inVertical)">
                                      <p:cBhvr>
                                        <p:cTn id="7" dur="500"/>
                                        <p:tgtEl>
                                          <p:spTgt spid="37"/>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55"/>
                                        </p:tgtEl>
                                        <p:attrNameLst>
                                          <p:attrName>style.visibility</p:attrName>
                                        </p:attrNameLst>
                                      </p:cBhvr>
                                      <p:to>
                                        <p:strVal val="visible"/>
                                      </p:to>
                                    </p:set>
                                    <p:animEffect transition="in" filter="barn(inVertical)">
                                      <p:cBhvr>
                                        <p:cTn id="10" dur="500"/>
                                        <p:tgtEl>
                                          <p:spTgt spid="55"/>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56"/>
                                        </p:tgtEl>
                                        <p:attrNameLst>
                                          <p:attrName>style.visibility</p:attrName>
                                        </p:attrNameLst>
                                      </p:cBhvr>
                                      <p:to>
                                        <p:strVal val="visible"/>
                                      </p:to>
                                    </p:set>
                                    <p:animEffect transition="in" filter="barn(inVertical)">
                                      <p:cBhvr>
                                        <p:cTn id="13"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93012E8-47B9-45ED-A597-E8765CBDDA73}"/>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Effect>
                      <a14:brightnessContrast contrast="40000"/>
                    </a14:imgEffect>
                  </a14:imgLayer>
                </a14:imgProps>
              </a:ext>
            </a:extLst>
          </a:blip>
          <a:stretch>
            <a:fillRect/>
          </a:stretch>
        </p:blipFill>
        <p:spPr>
          <a:xfrm>
            <a:off x="889839" y="1320526"/>
            <a:ext cx="10439400" cy="3952875"/>
          </a:xfrm>
          <a:prstGeom prst="rect">
            <a:avLst/>
          </a:prstGeom>
        </p:spPr>
      </p:pic>
      <p:sp>
        <p:nvSpPr>
          <p:cNvPr id="29" name="Rectangle 28">
            <a:extLst>
              <a:ext uri="{FF2B5EF4-FFF2-40B4-BE49-F238E27FC236}">
                <a16:creationId xmlns:a16="http://schemas.microsoft.com/office/drawing/2014/main" id="{49C75610-431C-413E-A284-6485CC629C8B}"/>
              </a:ext>
            </a:extLst>
          </p:cNvPr>
          <p:cNvSpPr/>
          <p:nvPr/>
        </p:nvSpPr>
        <p:spPr>
          <a:xfrm>
            <a:off x="1613280" y="148027"/>
            <a:ext cx="4482720" cy="830997"/>
          </a:xfrm>
          <a:prstGeom prst="rect">
            <a:avLst/>
          </a:prstGeom>
        </p:spPr>
        <p:txBody>
          <a:bodyPr wrap="square">
            <a:spAutoFit/>
          </a:bodyPr>
          <a:lstStyle/>
          <a:p>
            <a:r>
              <a:rPr lang="en-US" sz="2400">
                <a:solidFill>
                  <a:schemeClr val="accent5">
                    <a:lumMod val="75000"/>
                  </a:schemeClr>
                </a:solidFill>
              </a:rPr>
              <a:t>1. </a:t>
            </a:r>
            <a:r>
              <a:rPr lang="vi-VN" sz="2400">
                <a:solidFill>
                  <a:schemeClr val="accent5">
                    <a:lumMod val="75000"/>
                  </a:schemeClr>
                </a:solidFill>
              </a:rPr>
              <a:t>Hãy chỉ ra khoá chính của bảng Ca sĩ và bảng Bản nhạc.</a:t>
            </a:r>
          </a:p>
        </p:txBody>
      </p:sp>
      <p:sp>
        <p:nvSpPr>
          <p:cNvPr id="30" name="Rectangle 29">
            <a:extLst>
              <a:ext uri="{FF2B5EF4-FFF2-40B4-BE49-F238E27FC236}">
                <a16:creationId xmlns:a16="http://schemas.microsoft.com/office/drawing/2014/main" id="{EF5713F6-06FF-4799-AAEA-E6644AEAF307}"/>
              </a:ext>
            </a:extLst>
          </p:cNvPr>
          <p:cNvSpPr/>
          <p:nvPr/>
        </p:nvSpPr>
        <p:spPr>
          <a:xfrm>
            <a:off x="8100516" y="120197"/>
            <a:ext cx="4091484" cy="1200329"/>
          </a:xfrm>
          <a:prstGeom prst="rect">
            <a:avLst/>
          </a:prstGeom>
        </p:spPr>
        <p:txBody>
          <a:bodyPr wrap="square">
            <a:spAutoFit/>
          </a:bodyPr>
          <a:lstStyle/>
          <a:p>
            <a:r>
              <a:rPr lang="en-US" sz="2400">
                <a:solidFill>
                  <a:schemeClr val="accent5">
                    <a:lumMod val="75000"/>
                  </a:schemeClr>
                </a:solidFill>
              </a:rPr>
              <a:t>2. </a:t>
            </a:r>
            <a:r>
              <a:rPr lang="vi-VN" sz="2400">
                <a:solidFill>
                  <a:schemeClr val="accent5">
                    <a:lumMod val="75000"/>
                  </a:schemeClr>
                </a:solidFill>
              </a:rPr>
              <a:t>Hãy chỉ ra các khoá ngoài của bảng Bản nhạc và bảng Bản thu âm.</a:t>
            </a:r>
          </a:p>
        </p:txBody>
      </p:sp>
      <p:grpSp>
        <p:nvGrpSpPr>
          <p:cNvPr id="31" name="Confrontation" descr="{&quot;Key&quot;:&quot;POWER_USER_SHAPE_ICON&quot;,&quot;Value&quot;:&quot;POWER_USER_SHAPE_ICON_STYLE_1&quot;}">
            <a:extLst>
              <a:ext uri="{FF2B5EF4-FFF2-40B4-BE49-F238E27FC236}">
                <a16:creationId xmlns:a16="http://schemas.microsoft.com/office/drawing/2014/main" id="{AE18FD79-893D-4085-BDF2-B4CE9A487996}"/>
              </a:ext>
            </a:extLst>
          </p:cNvPr>
          <p:cNvGrpSpPr>
            <a:grpSpLocks noChangeAspect="1"/>
          </p:cNvGrpSpPr>
          <p:nvPr>
            <p:custDataLst>
              <p:tags r:id="rId1"/>
            </p:custDataLst>
          </p:nvPr>
        </p:nvGrpSpPr>
        <p:grpSpPr>
          <a:xfrm>
            <a:off x="278227" y="71753"/>
            <a:ext cx="1043339" cy="981967"/>
            <a:chOff x="6764338" y="5940425"/>
            <a:chExt cx="782637" cy="736601"/>
          </a:xfrm>
          <a:noFill/>
        </p:grpSpPr>
        <p:sp>
          <p:nvSpPr>
            <p:cNvPr id="32" name="Freeform 31">
              <a:extLst>
                <a:ext uri="{FF2B5EF4-FFF2-40B4-BE49-F238E27FC236}">
                  <a16:creationId xmlns:a16="http://schemas.microsoft.com/office/drawing/2014/main" id="{B220B09C-DBE2-4FA1-94FE-26D3108CA6DF}"/>
                </a:ext>
              </a:extLst>
            </p:cNvPr>
            <p:cNvSpPr>
              <a:spLocks/>
            </p:cNvSpPr>
            <p:nvPr/>
          </p:nvSpPr>
          <p:spPr bwMode="auto">
            <a:xfrm>
              <a:off x="6935788" y="6016625"/>
              <a:ext cx="95250" cy="112713"/>
            </a:xfrm>
            <a:custGeom>
              <a:avLst/>
              <a:gdLst>
                <a:gd name="T0" fmla="*/ 112 w 123"/>
                <a:gd name="T1" fmla="*/ 141 h 147"/>
                <a:gd name="T2" fmla="*/ 119 w 123"/>
                <a:gd name="T3" fmla="*/ 119 h 147"/>
                <a:gd name="T4" fmla="*/ 47 w 123"/>
                <a:gd name="T5" fmla="*/ 14 h 147"/>
                <a:gd name="T6" fmla="*/ 13 w 123"/>
                <a:gd name="T7" fmla="*/ 9 h 147"/>
                <a:gd name="T8" fmla="*/ 8 w 123"/>
                <a:gd name="T9" fmla="*/ 43 h 147"/>
                <a:gd name="T10" fmla="*/ 89 w 123"/>
                <a:gd name="T11" fmla="*/ 141 h 147"/>
                <a:gd name="T12" fmla="*/ 112 w 123"/>
                <a:gd name="T13" fmla="*/ 141 h 147"/>
              </a:gdLst>
              <a:ahLst/>
              <a:cxnLst>
                <a:cxn ang="0">
                  <a:pos x="T0" y="T1"/>
                </a:cxn>
                <a:cxn ang="0">
                  <a:pos x="T2" y="T3"/>
                </a:cxn>
                <a:cxn ang="0">
                  <a:pos x="T4" y="T5"/>
                </a:cxn>
                <a:cxn ang="0">
                  <a:pos x="T6" y="T7"/>
                </a:cxn>
                <a:cxn ang="0">
                  <a:pos x="T8" y="T9"/>
                </a:cxn>
                <a:cxn ang="0">
                  <a:pos x="T10" y="T11"/>
                </a:cxn>
                <a:cxn ang="0">
                  <a:pos x="T12" y="T13"/>
                </a:cxn>
              </a:cxnLst>
              <a:rect l="0" t="0" r="r" b="b"/>
              <a:pathLst>
                <a:path w="123" h="147">
                  <a:moveTo>
                    <a:pt x="112" y="141"/>
                  </a:moveTo>
                  <a:cubicBezTo>
                    <a:pt x="120" y="135"/>
                    <a:pt x="123" y="125"/>
                    <a:pt x="119" y="119"/>
                  </a:cubicBezTo>
                  <a:lnTo>
                    <a:pt x="47" y="14"/>
                  </a:lnTo>
                  <a:cubicBezTo>
                    <a:pt x="40" y="3"/>
                    <a:pt x="25" y="0"/>
                    <a:pt x="13" y="9"/>
                  </a:cubicBezTo>
                  <a:cubicBezTo>
                    <a:pt x="2" y="17"/>
                    <a:pt x="0" y="33"/>
                    <a:pt x="8" y="43"/>
                  </a:cubicBezTo>
                  <a:lnTo>
                    <a:pt x="89" y="141"/>
                  </a:lnTo>
                  <a:cubicBezTo>
                    <a:pt x="94" y="147"/>
                    <a:pt x="104" y="146"/>
                    <a:pt x="112" y="141"/>
                  </a:cubicBez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32">
              <a:extLst>
                <a:ext uri="{FF2B5EF4-FFF2-40B4-BE49-F238E27FC236}">
                  <a16:creationId xmlns:a16="http://schemas.microsoft.com/office/drawing/2014/main" id="{E06B3E8B-7406-450F-816D-3E3066C14340}"/>
                </a:ext>
              </a:extLst>
            </p:cNvPr>
            <p:cNvSpPr>
              <a:spLocks/>
            </p:cNvSpPr>
            <p:nvPr/>
          </p:nvSpPr>
          <p:spPr bwMode="auto">
            <a:xfrm>
              <a:off x="7065963" y="5962650"/>
              <a:ext cx="46038" cy="127000"/>
            </a:xfrm>
            <a:custGeom>
              <a:avLst/>
              <a:gdLst>
                <a:gd name="T0" fmla="*/ 24 w 60"/>
                <a:gd name="T1" fmla="*/ 1 h 166"/>
                <a:gd name="T2" fmla="*/ 3 w 60"/>
                <a:gd name="T3" fmla="*/ 28 h 166"/>
                <a:gd name="T4" fmla="*/ 23 w 60"/>
                <a:gd name="T5" fmla="*/ 154 h 166"/>
                <a:gd name="T6" fmla="*/ 42 w 60"/>
                <a:gd name="T7" fmla="*/ 165 h 166"/>
                <a:gd name="T8" fmla="*/ 59 w 60"/>
                <a:gd name="T9" fmla="*/ 150 h 166"/>
                <a:gd name="T10" fmla="*/ 51 w 60"/>
                <a:gd name="T11" fmla="*/ 23 h 166"/>
                <a:gd name="T12" fmla="*/ 24 w 60"/>
                <a:gd name="T13" fmla="*/ 1 h 166"/>
              </a:gdLst>
              <a:ahLst/>
              <a:cxnLst>
                <a:cxn ang="0">
                  <a:pos x="T0" y="T1"/>
                </a:cxn>
                <a:cxn ang="0">
                  <a:pos x="T2" y="T3"/>
                </a:cxn>
                <a:cxn ang="0">
                  <a:pos x="T4" y="T5"/>
                </a:cxn>
                <a:cxn ang="0">
                  <a:pos x="T6" y="T7"/>
                </a:cxn>
                <a:cxn ang="0">
                  <a:pos x="T8" y="T9"/>
                </a:cxn>
                <a:cxn ang="0">
                  <a:pos x="T10" y="T11"/>
                </a:cxn>
                <a:cxn ang="0">
                  <a:pos x="T12" y="T13"/>
                </a:cxn>
              </a:cxnLst>
              <a:rect l="0" t="0" r="r" b="b"/>
              <a:pathLst>
                <a:path w="60" h="166">
                  <a:moveTo>
                    <a:pt x="24" y="1"/>
                  </a:moveTo>
                  <a:cubicBezTo>
                    <a:pt x="10" y="3"/>
                    <a:pt x="0" y="15"/>
                    <a:pt x="3" y="28"/>
                  </a:cubicBezTo>
                  <a:lnTo>
                    <a:pt x="23" y="154"/>
                  </a:lnTo>
                  <a:cubicBezTo>
                    <a:pt x="24" y="161"/>
                    <a:pt x="33" y="166"/>
                    <a:pt x="42" y="165"/>
                  </a:cubicBezTo>
                  <a:cubicBezTo>
                    <a:pt x="52" y="164"/>
                    <a:pt x="60" y="157"/>
                    <a:pt x="59" y="150"/>
                  </a:cubicBezTo>
                  <a:lnTo>
                    <a:pt x="51" y="23"/>
                  </a:lnTo>
                  <a:cubicBezTo>
                    <a:pt x="50" y="10"/>
                    <a:pt x="38" y="0"/>
                    <a:pt x="24" y="1"/>
                  </a:cubicBez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33">
              <a:extLst>
                <a:ext uri="{FF2B5EF4-FFF2-40B4-BE49-F238E27FC236}">
                  <a16:creationId xmlns:a16="http://schemas.microsoft.com/office/drawing/2014/main" id="{A667B58C-C36D-426F-BCA7-7D7CB17EECE7}"/>
                </a:ext>
              </a:extLst>
            </p:cNvPr>
            <p:cNvSpPr>
              <a:spLocks/>
            </p:cNvSpPr>
            <p:nvPr/>
          </p:nvSpPr>
          <p:spPr bwMode="auto">
            <a:xfrm>
              <a:off x="6845300" y="6126163"/>
              <a:ext cx="123825" cy="69850"/>
            </a:xfrm>
            <a:custGeom>
              <a:avLst/>
              <a:gdLst>
                <a:gd name="T0" fmla="*/ 35 w 162"/>
                <a:gd name="T1" fmla="*/ 5 h 91"/>
                <a:gd name="T2" fmla="*/ 4 w 162"/>
                <a:gd name="T3" fmla="*/ 20 h 91"/>
                <a:gd name="T4" fmla="*/ 19 w 162"/>
                <a:gd name="T5" fmla="*/ 51 h 91"/>
                <a:gd name="T6" fmla="*/ 141 w 162"/>
                <a:gd name="T7" fmla="*/ 89 h 91"/>
                <a:gd name="T8" fmla="*/ 159 w 162"/>
                <a:gd name="T9" fmla="*/ 76 h 91"/>
                <a:gd name="T10" fmla="*/ 153 w 162"/>
                <a:gd name="T11" fmla="*/ 54 h 91"/>
                <a:gd name="T12" fmla="*/ 35 w 162"/>
                <a:gd name="T13" fmla="*/ 5 h 91"/>
              </a:gdLst>
              <a:ahLst/>
              <a:cxnLst>
                <a:cxn ang="0">
                  <a:pos x="T0" y="T1"/>
                </a:cxn>
                <a:cxn ang="0">
                  <a:pos x="T2" y="T3"/>
                </a:cxn>
                <a:cxn ang="0">
                  <a:pos x="T4" y="T5"/>
                </a:cxn>
                <a:cxn ang="0">
                  <a:pos x="T6" y="T7"/>
                </a:cxn>
                <a:cxn ang="0">
                  <a:pos x="T8" y="T9"/>
                </a:cxn>
                <a:cxn ang="0">
                  <a:pos x="T10" y="T11"/>
                </a:cxn>
                <a:cxn ang="0">
                  <a:pos x="T12" y="T13"/>
                </a:cxn>
              </a:cxnLst>
              <a:rect l="0" t="0" r="r" b="b"/>
              <a:pathLst>
                <a:path w="162" h="91">
                  <a:moveTo>
                    <a:pt x="35" y="5"/>
                  </a:moveTo>
                  <a:cubicBezTo>
                    <a:pt x="24" y="0"/>
                    <a:pt x="9" y="6"/>
                    <a:pt x="4" y="20"/>
                  </a:cubicBezTo>
                  <a:cubicBezTo>
                    <a:pt x="0" y="33"/>
                    <a:pt x="6" y="47"/>
                    <a:pt x="19" y="51"/>
                  </a:cubicBezTo>
                  <a:lnTo>
                    <a:pt x="141" y="89"/>
                  </a:lnTo>
                  <a:cubicBezTo>
                    <a:pt x="148" y="91"/>
                    <a:pt x="156" y="85"/>
                    <a:pt x="159" y="76"/>
                  </a:cubicBezTo>
                  <a:cubicBezTo>
                    <a:pt x="162" y="67"/>
                    <a:pt x="160" y="57"/>
                    <a:pt x="153" y="54"/>
                  </a:cubicBezTo>
                  <a:lnTo>
                    <a:pt x="35" y="5"/>
                  </a:lnTo>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34">
              <a:extLst>
                <a:ext uri="{FF2B5EF4-FFF2-40B4-BE49-F238E27FC236}">
                  <a16:creationId xmlns:a16="http://schemas.microsoft.com/office/drawing/2014/main" id="{5A5CE342-0896-4B06-92E5-6C3FD4E58523}"/>
                </a:ext>
              </a:extLst>
            </p:cNvPr>
            <p:cNvSpPr>
              <a:spLocks/>
            </p:cNvSpPr>
            <p:nvPr/>
          </p:nvSpPr>
          <p:spPr bwMode="auto">
            <a:xfrm>
              <a:off x="7281863" y="6475413"/>
              <a:ext cx="93663" cy="112713"/>
            </a:xfrm>
            <a:custGeom>
              <a:avLst/>
              <a:gdLst>
                <a:gd name="T0" fmla="*/ 34 w 123"/>
                <a:gd name="T1" fmla="*/ 5 h 147"/>
                <a:gd name="T2" fmla="*/ 12 w 123"/>
                <a:gd name="T3" fmla="*/ 6 h 147"/>
                <a:gd name="T4" fmla="*/ 4 w 123"/>
                <a:gd name="T5" fmla="*/ 28 h 147"/>
                <a:gd name="T6" fmla="*/ 76 w 123"/>
                <a:gd name="T7" fmla="*/ 133 h 147"/>
                <a:gd name="T8" fmla="*/ 110 w 123"/>
                <a:gd name="T9" fmla="*/ 138 h 147"/>
                <a:gd name="T10" fmla="*/ 115 w 123"/>
                <a:gd name="T11" fmla="*/ 104 h 147"/>
                <a:gd name="T12" fmla="*/ 34 w 123"/>
                <a:gd name="T13" fmla="*/ 5 h 147"/>
              </a:gdLst>
              <a:ahLst/>
              <a:cxnLst>
                <a:cxn ang="0">
                  <a:pos x="T0" y="T1"/>
                </a:cxn>
                <a:cxn ang="0">
                  <a:pos x="T2" y="T3"/>
                </a:cxn>
                <a:cxn ang="0">
                  <a:pos x="T4" y="T5"/>
                </a:cxn>
                <a:cxn ang="0">
                  <a:pos x="T6" y="T7"/>
                </a:cxn>
                <a:cxn ang="0">
                  <a:pos x="T8" y="T9"/>
                </a:cxn>
                <a:cxn ang="0">
                  <a:pos x="T10" y="T11"/>
                </a:cxn>
                <a:cxn ang="0">
                  <a:pos x="T12" y="T13"/>
                </a:cxn>
              </a:cxnLst>
              <a:rect l="0" t="0" r="r" b="b"/>
              <a:pathLst>
                <a:path w="123" h="147">
                  <a:moveTo>
                    <a:pt x="34" y="5"/>
                  </a:moveTo>
                  <a:cubicBezTo>
                    <a:pt x="29" y="0"/>
                    <a:pt x="19" y="1"/>
                    <a:pt x="12" y="6"/>
                  </a:cubicBezTo>
                  <a:cubicBezTo>
                    <a:pt x="4" y="12"/>
                    <a:pt x="0" y="22"/>
                    <a:pt x="4" y="28"/>
                  </a:cubicBezTo>
                  <a:lnTo>
                    <a:pt x="76" y="133"/>
                  </a:lnTo>
                  <a:cubicBezTo>
                    <a:pt x="83" y="144"/>
                    <a:pt x="99" y="147"/>
                    <a:pt x="110" y="138"/>
                  </a:cubicBezTo>
                  <a:cubicBezTo>
                    <a:pt x="121" y="130"/>
                    <a:pt x="123" y="114"/>
                    <a:pt x="115" y="104"/>
                  </a:cubicBezTo>
                  <a:lnTo>
                    <a:pt x="34" y="5"/>
                  </a:ln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35">
              <a:extLst>
                <a:ext uri="{FF2B5EF4-FFF2-40B4-BE49-F238E27FC236}">
                  <a16:creationId xmlns:a16="http://schemas.microsoft.com/office/drawing/2014/main" id="{156A7453-5854-4465-AFD5-D08C6A6DBC60}"/>
                </a:ext>
              </a:extLst>
            </p:cNvPr>
            <p:cNvSpPr>
              <a:spLocks/>
            </p:cNvSpPr>
            <p:nvPr/>
          </p:nvSpPr>
          <p:spPr bwMode="auto">
            <a:xfrm>
              <a:off x="7200900" y="6515100"/>
              <a:ext cx="44450" cy="127000"/>
            </a:xfrm>
            <a:custGeom>
              <a:avLst/>
              <a:gdLst>
                <a:gd name="T0" fmla="*/ 37 w 59"/>
                <a:gd name="T1" fmla="*/ 12 h 166"/>
                <a:gd name="T2" fmla="*/ 17 w 59"/>
                <a:gd name="T3" fmla="*/ 1 h 166"/>
                <a:gd name="T4" fmla="*/ 0 w 59"/>
                <a:gd name="T5" fmla="*/ 16 h 166"/>
                <a:gd name="T6" fmla="*/ 9 w 59"/>
                <a:gd name="T7" fmla="*/ 143 h 166"/>
                <a:gd name="T8" fmla="*/ 35 w 59"/>
                <a:gd name="T9" fmla="*/ 165 h 166"/>
                <a:gd name="T10" fmla="*/ 57 w 59"/>
                <a:gd name="T11" fmla="*/ 138 h 166"/>
                <a:gd name="T12" fmla="*/ 37 w 59"/>
                <a:gd name="T13" fmla="*/ 12 h 166"/>
              </a:gdLst>
              <a:ahLst/>
              <a:cxnLst>
                <a:cxn ang="0">
                  <a:pos x="T0" y="T1"/>
                </a:cxn>
                <a:cxn ang="0">
                  <a:pos x="T2" y="T3"/>
                </a:cxn>
                <a:cxn ang="0">
                  <a:pos x="T4" y="T5"/>
                </a:cxn>
                <a:cxn ang="0">
                  <a:pos x="T6" y="T7"/>
                </a:cxn>
                <a:cxn ang="0">
                  <a:pos x="T8" y="T9"/>
                </a:cxn>
                <a:cxn ang="0">
                  <a:pos x="T10" y="T11"/>
                </a:cxn>
                <a:cxn ang="0">
                  <a:pos x="T12" y="T13"/>
                </a:cxn>
              </a:cxnLst>
              <a:rect l="0" t="0" r="r" b="b"/>
              <a:pathLst>
                <a:path w="59" h="166">
                  <a:moveTo>
                    <a:pt x="37" y="12"/>
                  </a:moveTo>
                  <a:cubicBezTo>
                    <a:pt x="36" y="5"/>
                    <a:pt x="27" y="0"/>
                    <a:pt x="17" y="1"/>
                  </a:cubicBezTo>
                  <a:cubicBezTo>
                    <a:pt x="7" y="2"/>
                    <a:pt x="0" y="9"/>
                    <a:pt x="0" y="16"/>
                  </a:cubicBezTo>
                  <a:lnTo>
                    <a:pt x="9" y="143"/>
                  </a:lnTo>
                  <a:cubicBezTo>
                    <a:pt x="9" y="156"/>
                    <a:pt x="21" y="166"/>
                    <a:pt x="35" y="165"/>
                  </a:cubicBezTo>
                  <a:cubicBezTo>
                    <a:pt x="50" y="163"/>
                    <a:pt x="59" y="151"/>
                    <a:pt x="57" y="138"/>
                  </a:cubicBezTo>
                  <a:lnTo>
                    <a:pt x="37" y="12"/>
                  </a:ln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36">
              <a:extLst>
                <a:ext uri="{FF2B5EF4-FFF2-40B4-BE49-F238E27FC236}">
                  <a16:creationId xmlns:a16="http://schemas.microsoft.com/office/drawing/2014/main" id="{BF7CAD2C-BC3E-41CA-8A96-50CCF50C2890}"/>
                </a:ext>
              </a:extLst>
            </p:cNvPr>
            <p:cNvSpPr>
              <a:spLocks/>
            </p:cNvSpPr>
            <p:nvPr/>
          </p:nvSpPr>
          <p:spPr bwMode="auto">
            <a:xfrm>
              <a:off x="7342188" y="6408738"/>
              <a:ext cx="125413" cy="69850"/>
            </a:xfrm>
            <a:custGeom>
              <a:avLst/>
              <a:gdLst>
                <a:gd name="T0" fmla="*/ 144 w 163"/>
                <a:gd name="T1" fmla="*/ 40 h 91"/>
                <a:gd name="T2" fmla="*/ 22 w 163"/>
                <a:gd name="T3" fmla="*/ 2 h 91"/>
                <a:gd name="T4" fmla="*/ 3 w 163"/>
                <a:gd name="T5" fmla="*/ 15 h 91"/>
                <a:gd name="T6" fmla="*/ 9 w 163"/>
                <a:gd name="T7" fmla="*/ 37 h 91"/>
                <a:gd name="T8" fmla="*/ 127 w 163"/>
                <a:gd name="T9" fmla="*/ 86 h 91"/>
                <a:gd name="T10" fmla="*/ 158 w 163"/>
                <a:gd name="T11" fmla="*/ 71 h 91"/>
                <a:gd name="T12" fmla="*/ 144 w 163"/>
                <a:gd name="T13" fmla="*/ 40 h 91"/>
              </a:gdLst>
              <a:ahLst/>
              <a:cxnLst>
                <a:cxn ang="0">
                  <a:pos x="T0" y="T1"/>
                </a:cxn>
                <a:cxn ang="0">
                  <a:pos x="T2" y="T3"/>
                </a:cxn>
                <a:cxn ang="0">
                  <a:pos x="T4" y="T5"/>
                </a:cxn>
                <a:cxn ang="0">
                  <a:pos x="T6" y="T7"/>
                </a:cxn>
                <a:cxn ang="0">
                  <a:pos x="T8" y="T9"/>
                </a:cxn>
                <a:cxn ang="0">
                  <a:pos x="T10" y="T11"/>
                </a:cxn>
                <a:cxn ang="0">
                  <a:pos x="T12" y="T13"/>
                </a:cxn>
              </a:cxnLst>
              <a:rect l="0" t="0" r="r" b="b"/>
              <a:pathLst>
                <a:path w="163" h="91">
                  <a:moveTo>
                    <a:pt x="144" y="40"/>
                  </a:moveTo>
                  <a:lnTo>
                    <a:pt x="22" y="2"/>
                  </a:lnTo>
                  <a:cubicBezTo>
                    <a:pt x="15" y="0"/>
                    <a:pt x="7" y="6"/>
                    <a:pt x="3" y="15"/>
                  </a:cubicBezTo>
                  <a:cubicBezTo>
                    <a:pt x="0" y="24"/>
                    <a:pt x="2" y="34"/>
                    <a:pt x="9" y="37"/>
                  </a:cubicBezTo>
                  <a:lnTo>
                    <a:pt x="127" y="86"/>
                  </a:lnTo>
                  <a:cubicBezTo>
                    <a:pt x="139" y="91"/>
                    <a:pt x="153" y="85"/>
                    <a:pt x="158" y="71"/>
                  </a:cubicBezTo>
                  <a:cubicBezTo>
                    <a:pt x="163" y="58"/>
                    <a:pt x="156" y="44"/>
                    <a:pt x="144" y="40"/>
                  </a:cubicBezTo>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37">
              <a:extLst>
                <a:ext uri="{FF2B5EF4-FFF2-40B4-BE49-F238E27FC236}">
                  <a16:creationId xmlns:a16="http://schemas.microsoft.com/office/drawing/2014/main" id="{2A03BCA6-7952-4B64-B1AA-944B61C220A2}"/>
                </a:ext>
              </a:extLst>
            </p:cNvPr>
            <p:cNvSpPr>
              <a:spLocks/>
            </p:cNvSpPr>
            <p:nvPr/>
          </p:nvSpPr>
          <p:spPr bwMode="auto">
            <a:xfrm>
              <a:off x="6764338" y="6221413"/>
              <a:ext cx="433388" cy="455613"/>
            </a:xfrm>
            <a:custGeom>
              <a:avLst/>
              <a:gdLst>
                <a:gd name="T0" fmla="*/ 502 w 568"/>
                <a:gd name="T1" fmla="*/ 285 h 598"/>
                <a:gd name="T2" fmla="*/ 519 w 568"/>
                <a:gd name="T3" fmla="*/ 267 h 598"/>
                <a:gd name="T4" fmla="*/ 519 w 568"/>
                <a:gd name="T5" fmla="*/ 192 h 598"/>
                <a:gd name="T6" fmla="*/ 455 w 568"/>
                <a:gd name="T7" fmla="*/ 184 h 598"/>
                <a:gd name="T8" fmla="*/ 463 w 568"/>
                <a:gd name="T9" fmla="*/ 100 h 598"/>
                <a:gd name="T10" fmla="*/ 393 w 568"/>
                <a:gd name="T11" fmla="*/ 95 h 598"/>
                <a:gd name="T12" fmla="*/ 392 w 568"/>
                <a:gd name="T13" fmla="*/ 21 h 598"/>
                <a:gd name="T14" fmla="*/ 317 w 568"/>
                <a:gd name="T15" fmla="*/ 21 h 598"/>
                <a:gd name="T16" fmla="*/ 205 w 568"/>
                <a:gd name="T17" fmla="*/ 132 h 598"/>
                <a:gd name="T18" fmla="*/ 205 w 568"/>
                <a:gd name="T19" fmla="*/ 69 h 598"/>
                <a:gd name="T20" fmla="*/ 236 w 568"/>
                <a:gd name="T21" fmla="*/ 38 h 598"/>
                <a:gd name="T22" fmla="*/ 112 w 568"/>
                <a:gd name="T23" fmla="*/ 93 h 598"/>
                <a:gd name="T24" fmla="*/ 79 w 568"/>
                <a:gd name="T25" fmla="*/ 311 h 598"/>
                <a:gd name="T26" fmla="*/ 0 w 568"/>
                <a:gd name="T27" fmla="*/ 390 h 598"/>
                <a:gd name="T28" fmla="*/ 209 w 568"/>
                <a:gd name="T29" fmla="*/ 598 h 598"/>
                <a:gd name="T30" fmla="*/ 279 w 568"/>
                <a:gd name="T31" fmla="*/ 528 h 598"/>
                <a:gd name="T32" fmla="*/ 434 w 568"/>
                <a:gd name="T33" fmla="*/ 486 h 598"/>
                <a:gd name="T34" fmla="*/ 548 w 568"/>
                <a:gd name="T35" fmla="*/ 372 h 598"/>
                <a:gd name="T36" fmla="*/ 548 w 568"/>
                <a:gd name="T37" fmla="*/ 299 h 598"/>
                <a:gd name="T38" fmla="*/ 502 w 568"/>
                <a:gd name="T39" fmla="*/ 285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8" h="598">
                  <a:moveTo>
                    <a:pt x="502" y="285"/>
                  </a:moveTo>
                  <a:lnTo>
                    <a:pt x="519" y="267"/>
                  </a:lnTo>
                  <a:cubicBezTo>
                    <a:pt x="539" y="247"/>
                    <a:pt x="539" y="213"/>
                    <a:pt x="519" y="192"/>
                  </a:cubicBezTo>
                  <a:cubicBezTo>
                    <a:pt x="501" y="175"/>
                    <a:pt x="475" y="172"/>
                    <a:pt x="455" y="184"/>
                  </a:cubicBezTo>
                  <a:cubicBezTo>
                    <a:pt x="480" y="158"/>
                    <a:pt x="488" y="125"/>
                    <a:pt x="463" y="100"/>
                  </a:cubicBezTo>
                  <a:cubicBezTo>
                    <a:pt x="444" y="80"/>
                    <a:pt x="414" y="79"/>
                    <a:pt x="393" y="95"/>
                  </a:cubicBezTo>
                  <a:cubicBezTo>
                    <a:pt x="413" y="75"/>
                    <a:pt x="413" y="41"/>
                    <a:pt x="392" y="21"/>
                  </a:cubicBezTo>
                  <a:cubicBezTo>
                    <a:pt x="371" y="0"/>
                    <a:pt x="338" y="0"/>
                    <a:pt x="317" y="21"/>
                  </a:cubicBezTo>
                  <a:lnTo>
                    <a:pt x="205" y="132"/>
                  </a:lnTo>
                  <a:cubicBezTo>
                    <a:pt x="188" y="115"/>
                    <a:pt x="188" y="86"/>
                    <a:pt x="205" y="69"/>
                  </a:cubicBezTo>
                  <a:lnTo>
                    <a:pt x="236" y="38"/>
                  </a:lnTo>
                  <a:cubicBezTo>
                    <a:pt x="182" y="42"/>
                    <a:pt x="125" y="68"/>
                    <a:pt x="112" y="93"/>
                  </a:cubicBezTo>
                  <a:cubicBezTo>
                    <a:pt x="93" y="129"/>
                    <a:pt x="79" y="253"/>
                    <a:pt x="79" y="311"/>
                  </a:cubicBezTo>
                  <a:lnTo>
                    <a:pt x="0" y="390"/>
                  </a:lnTo>
                  <a:lnTo>
                    <a:pt x="209" y="598"/>
                  </a:lnTo>
                  <a:lnTo>
                    <a:pt x="279" y="528"/>
                  </a:lnTo>
                  <a:cubicBezTo>
                    <a:pt x="335" y="545"/>
                    <a:pt x="398" y="522"/>
                    <a:pt x="434" y="486"/>
                  </a:cubicBezTo>
                  <a:lnTo>
                    <a:pt x="548" y="372"/>
                  </a:lnTo>
                  <a:cubicBezTo>
                    <a:pt x="568" y="352"/>
                    <a:pt x="568" y="319"/>
                    <a:pt x="548" y="299"/>
                  </a:cubicBezTo>
                  <a:cubicBezTo>
                    <a:pt x="535" y="286"/>
                    <a:pt x="518" y="282"/>
                    <a:pt x="502" y="285"/>
                  </a:cubicBez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38">
              <a:extLst>
                <a:ext uri="{FF2B5EF4-FFF2-40B4-BE49-F238E27FC236}">
                  <a16:creationId xmlns:a16="http://schemas.microsoft.com/office/drawing/2014/main" id="{63D2FB21-2230-4849-AB2A-02357F580FCD}"/>
                </a:ext>
              </a:extLst>
            </p:cNvPr>
            <p:cNvSpPr>
              <a:spLocks/>
            </p:cNvSpPr>
            <p:nvPr/>
          </p:nvSpPr>
          <p:spPr bwMode="auto">
            <a:xfrm>
              <a:off x="7115175" y="5940425"/>
              <a:ext cx="431800" cy="455613"/>
            </a:xfrm>
            <a:custGeom>
              <a:avLst/>
              <a:gdLst>
                <a:gd name="T0" fmla="*/ 289 w 568"/>
                <a:gd name="T1" fmla="*/ 70 h 598"/>
                <a:gd name="T2" fmla="*/ 134 w 568"/>
                <a:gd name="T3" fmla="*/ 112 h 598"/>
                <a:gd name="T4" fmla="*/ 21 w 568"/>
                <a:gd name="T5" fmla="*/ 226 h 598"/>
                <a:gd name="T6" fmla="*/ 21 w 568"/>
                <a:gd name="T7" fmla="*/ 299 h 598"/>
                <a:gd name="T8" fmla="*/ 67 w 568"/>
                <a:gd name="T9" fmla="*/ 313 h 598"/>
                <a:gd name="T10" fmla="*/ 50 w 568"/>
                <a:gd name="T11" fmla="*/ 331 h 598"/>
                <a:gd name="T12" fmla="*/ 50 w 568"/>
                <a:gd name="T13" fmla="*/ 406 h 598"/>
                <a:gd name="T14" fmla="*/ 114 w 568"/>
                <a:gd name="T15" fmla="*/ 414 h 598"/>
                <a:gd name="T16" fmla="*/ 105 w 568"/>
                <a:gd name="T17" fmla="*/ 498 h 598"/>
                <a:gd name="T18" fmla="*/ 175 w 568"/>
                <a:gd name="T19" fmla="*/ 503 h 598"/>
                <a:gd name="T20" fmla="*/ 176 w 568"/>
                <a:gd name="T21" fmla="*/ 577 h 598"/>
                <a:gd name="T22" fmla="*/ 252 w 568"/>
                <a:gd name="T23" fmla="*/ 577 h 598"/>
                <a:gd name="T24" fmla="*/ 363 w 568"/>
                <a:gd name="T25" fmla="*/ 465 h 598"/>
                <a:gd name="T26" fmla="*/ 363 w 568"/>
                <a:gd name="T27" fmla="*/ 529 h 598"/>
                <a:gd name="T28" fmla="*/ 332 w 568"/>
                <a:gd name="T29" fmla="*/ 560 h 598"/>
                <a:gd name="T30" fmla="*/ 456 w 568"/>
                <a:gd name="T31" fmla="*/ 505 h 598"/>
                <a:gd name="T32" fmla="*/ 490 w 568"/>
                <a:gd name="T33" fmla="*/ 286 h 598"/>
                <a:gd name="T34" fmla="*/ 568 w 568"/>
                <a:gd name="T35" fmla="*/ 208 h 598"/>
                <a:gd name="T36" fmla="*/ 359 w 568"/>
                <a:gd name="T37" fmla="*/ 0 h 598"/>
                <a:gd name="T38" fmla="*/ 289 w 568"/>
                <a:gd name="T39" fmla="*/ 7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8" h="598">
                  <a:moveTo>
                    <a:pt x="289" y="70"/>
                  </a:moveTo>
                  <a:cubicBezTo>
                    <a:pt x="233" y="53"/>
                    <a:pt x="171" y="76"/>
                    <a:pt x="134" y="112"/>
                  </a:cubicBezTo>
                  <a:lnTo>
                    <a:pt x="21" y="226"/>
                  </a:lnTo>
                  <a:cubicBezTo>
                    <a:pt x="0" y="246"/>
                    <a:pt x="0" y="279"/>
                    <a:pt x="21" y="299"/>
                  </a:cubicBezTo>
                  <a:cubicBezTo>
                    <a:pt x="33" y="312"/>
                    <a:pt x="50" y="316"/>
                    <a:pt x="67" y="313"/>
                  </a:cubicBezTo>
                  <a:lnTo>
                    <a:pt x="50" y="331"/>
                  </a:lnTo>
                  <a:cubicBezTo>
                    <a:pt x="29" y="351"/>
                    <a:pt x="29" y="385"/>
                    <a:pt x="50" y="406"/>
                  </a:cubicBezTo>
                  <a:cubicBezTo>
                    <a:pt x="67" y="423"/>
                    <a:pt x="93" y="426"/>
                    <a:pt x="114" y="414"/>
                  </a:cubicBezTo>
                  <a:cubicBezTo>
                    <a:pt x="88" y="440"/>
                    <a:pt x="80" y="473"/>
                    <a:pt x="105" y="498"/>
                  </a:cubicBezTo>
                  <a:cubicBezTo>
                    <a:pt x="124" y="518"/>
                    <a:pt x="154" y="519"/>
                    <a:pt x="175" y="503"/>
                  </a:cubicBezTo>
                  <a:cubicBezTo>
                    <a:pt x="155" y="523"/>
                    <a:pt x="156" y="556"/>
                    <a:pt x="176" y="577"/>
                  </a:cubicBezTo>
                  <a:cubicBezTo>
                    <a:pt x="197" y="598"/>
                    <a:pt x="230" y="598"/>
                    <a:pt x="252" y="577"/>
                  </a:cubicBezTo>
                  <a:lnTo>
                    <a:pt x="363" y="465"/>
                  </a:lnTo>
                  <a:cubicBezTo>
                    <a:pt x="381" y="483"/>
                    <a:pt x="381" y="512"/>
                    <a:pt x="363" y="529"/>
                  </a:cubicBezTo>
                  <a:lnTo>
                    <a:pt x="332" y="560"/>
                  </a:lnTo>
                  <a:cubicBezTo>
                    <a:pt x="387" y="556"/>
                    <a:pt x="443" y="530"/>
                    <a:pt x="456" y="505"/>
                  </a:cubicBezTo>
                  <a:cubicBezTo>
                    <a:pt x="475" y="469"/>
                    <a:pt x="489" y="345"/>
                    <a:pt x="490" y="286"/>
                  </a:cubicBezTo>
                  <a:lnTo>
                    <a:pt x="568" y="208"/>
                  </a:lnTo>
                  <a:lnTo>
                    <a:pt x="359" y="0"/>
                  </a:lnTo>
                  <a:lnTo>
                    <a:pt x="289" y="70"/>
                  </a:ln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0" name="Oval 39">
            <a:extLst>
              <a:ext uri="{FF2B5EF4-FFF2-40B4-BE49-F238E27FC236}">
                <a16:creationId xmlns:a16="http://schemas.microsoft.com/office/drawing/2014/main" id="{DC396A4A-3305-4CAC-BD42-FBA9570F7F93}"/>
              </a:ext>
            </a:extLst>
          </p:cNvPr>
          <p:cNvSpPr/>
          <p:nvPr/>
        </p:nvSpPr>
        <p:spPr>
          <a:xfrm>
            <a:off x="3466531" y="3643952"/>
            <a:ext cx="805218" cy="614149"/>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41" name="Oval 40">
            <a:extLst>
              <a:ext uri="{FF2B5EF4-FFF2-40B4-BE49-F238E27FC236}">
                <a16:creationId xmlns:a16="http://schemas.microsoft.com/office/drawing/2014/main" id="{CC25C95D-7998-4C6A-8A77-2866C54583C4}"/>
              </a:ext>
            </a:extLst>
          </p:cNvPr>
          <p:cNvSpPr/>
          <p:nvPr/>
        </p:nvSpPr>
        <p:spPr>
          <a:xfrm>
            <a:off x="5939050" y="3643952"/>
            <a:ext cx="805218" cy="614149"/>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42" name="Oval 41">
            <a:extLst>
              <a:ext uri="{FF2B5EF4-FFF2-40B4-BE49-F238E27FC236}">
                <a16:creationId xmlns:a16="http://schemas.microsoft.com/office/drawing/2014/main" id="{C6EB7FBF-E3B4-4D0E-8B6A-CF680CC79562}"/>
              </a:ext>
            </a:extLst>
          </p:cNvPr>
          <p:cNvSpPr/>
          <p:nvPr/>
        </p:nvSpPr>
        <p:spPr>
          <a:xfrm>
            <a:off x="6744268" y="3643951"/>
            <a:ext cx="805218" cy="614149"/>
          </a:xfrm>
          <a:prstGeom prst="ellipse">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43" name="Oval 42">
            <a:extLst>
              <a:ext uri="{FF2B5EF4-FFF2-40B4-BE49-F238E27FC236}">
                <a16:creationId xmlns:a16="http://schemas.microsoft.com/office/drawing/2014/main" id="{E559F8C1-79D7-47E6-8B35-8E3704C52387}"/>
              </a:ext>
            </a:extLst>
          </p:cNvPr>
          <p:cNvSpPr/>
          <p:nvPr/>
        </p:nvSpPr>
        <p:spPr>
          <a:xfrm>
            <a:off x="9743649" y="3643951"/>
            <a:ext cx="805218" cy="614149"/>
          </a:xfrm>
          <a:prstGeom prst="ellipse">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44" name="Oval 43">
            <a:extLst>
              <a:ext uri="{FF2B5EF4-FFF2-40B4-BE49-F238E27FC236}">
                <a16:creationId xmlns:a16="http://schemas.microsoft.com/office/drawing/2014/main" id="{9D12C647-68C6-43E3-BF74-21990A021700}"/>
              </a:ext>
            </a:extLst>
          </p:cNvPr>
          <p:cNvSpPr/>
          <p:nvPr/>
        </p:nvSpPr>
        <p:spPr>
          <a:xfrm>
            <a:off x="10491290" y="3643951"/>
            <a:ext cx="805218" cy="614149"/>
          </a:xfrm>
          <a:prstGeom prst="ellipse">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45" name="Oval 44">
            <a:extLst>
              <a:ext uri="{FF2B5EF4-FFF2-40B4-BE49-F238E27FC236}">
                <a16:creationId xmlns:a16="http://schemas.microsoft.com/office/drawing/2014/main" id="{5950CC7D-4CD5-495F-8B35-CD2CEA30D6F1}"/>
              </a:ext>
            </a:extLst>
          </p:cNvPr>
          <p:cNvSpPr/>
          <p:nvPr/>
        </p:nvSpPr>
        <p:spPr>
          <a:xfrm>
            <a:off x="10491289" y="92901"/>
            <a:ext cx="1573331" cy="506238"/>
          </a:xfrm>
          <a:prstGeom prst="ellipse">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46" name="Oval 45">
            <a:extLst>
              <a:ext uri="{FF2B5EF4-FFF2-40B4-BE49-F238E27FC236}">
                <a16:creationId xmlns:a16="http://schemas.microsoft.com/office/drawing/2014/main" id="{DA87D07A-ECAF-4E78-9C2D-ECB9CA8F83CE}"/>
              </a:ext>
            </a:extLst>
          </p:cNvPr>
          <p:cNvSpPr/>
          <p:nvPr/>
        </p:nvSpPr>
        <p:spPr>
          <a:xfrm>
            <a:off x="3452031" y="148027"/>
            <a:ext cx="1573330" cy="486011"/>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3" name="TextBox 2">
            <a:extLst>
              <a:ext uri="{FF2B5EF4-FFF2-40B4-BE49-F238E27FC236}">
                <a16:creationId xmlns:a16="http://schemas.microsoft.com/office/drawing/2014/main" id="{4C2FCF32-B4BC-4B24-484C-CEDEF35AE34C}"/>
              </a:ext>
            </a:extLst>
          </p:cNvPr>
          <p:cNvSpPr txBox="1"/>
          <p:nvPr/>
        </p:nvSpPr>
        <p:spPr>
          <a:xfrm>
            <a:off x="3070619" y="5232645"/>
            <a:ext cx="9519313" cy="1477328"/>
          </a:xfrm>
          <a:prstGeom prst="rect">
            <a:avLst/>
          </a:prstGeom>
          <a:noFill/>
        </p:spPr>
        <p:txBody>
          <a:bodyPr wrap="square">
            <a:spAutoFit/>
          </a:bodyPr>
          <a:lstStyle/>
          <a:p>
            <a:r>
              <a:rPr lang="en-US"/>
              <a:t>Tài liệu được chia sẻ bởi Website VnTeach.Com</a:t>
            </a:r>
          </a:p>
          <a:p>
            <a:r>
              <a:rPr lang="en-US"/>
              <a:t>https://www.vnteach.com</a:t>
            </a:r>
          </a:p>
          <a:p>
            <a:r>
              <a:rPr lang="en-US"/>
              <a:t>Một sản phẩm của cộng đồng facebook Thư Viện VnTeach.Com</a:t>
            </a:r>
          </a:p>
          <a:p>
            <a:r>
              <a:rPr lang="en-US"/>
              <a:t>https://www.facebook.com/groups/vnteach/</a:t>
            </a:r>
          </a:p>
          <a:p>
            <a:r>
              <a:rPr lang="en-US"/>
              <a:t>https://www.facebook.com/groups/thuvienvnteach/</a:t>
            </a:r>
          </a:p>
        </p:txBody>
      </p:sp>
    </p:spTree>
    <p:extLst>
      <p:ext uri="{BB962C8B-B14F-4D97-AF65-F5344CB8AC3E}">
        <p14:creationId xmlns:p14="http://schemas.microsoft.com/office/powerpoint/2010/main" val="426930298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barn(inVertical)">
                                      <p:cBhvr>
                                        <p:cTn id="7" dur="500"/>
                                        <p:tgtEl>
                                          <p:spTgt spid="46"/>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barn(inVertical)">
                                      <p:cBhvr>
                                        <p:cTn id="10" dur="500"/>
                                        <p:tgtEl>
                                          <p:spTgt spid="40"/>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barn(inVertical)">
                                      <p:cBhvr>
                                        <p:cTn id="13" dur="500"/>
                                        <p:tgtEl>
                                          <p:spTgt spid="41"/>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45"/>
                                        </p:tgtEl>
                                        <p:attrNameLst>
                                          <p:attrName>style.visibility</p:attrName>
                                        </p:attrNameLst>
                                      </p:cBhvr>
                                      <p:to>
                                        <p:strVal val="visible"/>
                                      </p:to>
                                    </p:set>
                                    <p:animEffect transition="in" filter="barn(inVertical)">
                                      <p:cBhvr>
                                        <p:cTn id="18" dur="500"/>
                                        <p:tgtEl>
                                          <p:spTgt spid="45"/>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barn(inVertical)">
                                      <p:cBhvr>
                                        <p:cTn id="21" dur="500"/>
                                        <p:tgtEl>
                                          <p:spTgt spid="42"/>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barn(inVertical)">
                                      <p:cBhvr>
                                        <p:cTn id="24" dur="500"/>
                                        <p:tgtEl>
                                          <p:spTgt spid="43"/>
                                        </p:tgtEl>
                                      </p:cBhvr>
                                    </p:animEffect>
                                  </p:childTnLst>
                                </p:cTn>
                              </p:par>
                              <p:par>
                                <p:cTn id="25" presetID="16" presetClass="entr" presetSubtype="21" fill="hold" grpId="0" nodeType="with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barn(inVertical)">
                                      <p:cBhvr>
                                        <p:cTn id="27"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P spid="42" grpId="0" animBg="1"/>
      <p:bldP spid="43" grpId="0" animBg="1"/>
      <p:bldP spid="44" grpId="0" animBg="1"/>
      <p:bldP spid="45" grpId="0" animBg="1"/>
      <p:bldP spid="4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A69A572-ED91-4C27-B564-45C42DB1C02E}"/>
              </a:ext>
            </a:extLst>
          </p:cNvPr>
          <p:cNvPicPr>
            <a:picLocks noChangeAspect="1"/>
          </p:cNvPicPr>
          <p:nvPr/>
        </p:nvPicPr>
        <p:blipFill>
          <a:blip r:embed="rId3"/>
          <a:stretch>
            <a:fillRect/>
          </a:stretch>
        </p:blipFill>
        <p:spPr>
          <a:xfrm>
            <a:off x="301618" y="125104"/>
            <a:ext cx="11588763" cy="3095768"/>
          </a:xfrm>
          <a:prstGeom prst="rect">
            <a:avLst/>
          </a:prstGeom>
          <a:ln>
            <a:no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CD7267E7-4B85-4887-8C4D-DD207AC7B873}"/>
              </a:ext>
            </a:extLst>
          </p:cNvPr>
          <p:cNvPicPr>
            <a:picLocks noChangeAspect="1"/>
          </p:cNvPicPr>
          <p:nvPr/>
        </p:nvPicPr>
        <p:blipFill>
          <a:blip r:embed="rId4"/>
          <a:stretch>
            <a:fillRect/>
          </a:stretch>
        </p:blipFill>
        <p:spPr>
          <a:xfrm>
            <a:off x="637578" y="3488058"/>
            <a:ext cx="10916842" cy="3244838"/>
          </a:xfrm>
          <a:prstGeom prst="rect">
            <a:avLst/>
          </a:prstGeom>
        </p:spPr>
      </p:pic>
    </p:spTree>
    <p:extLst>
      <p:ext uri="{BB962C8B-B14F-4D97-AF65-F5344CB8AC3E}">
        <p14:creationId xmlns:p14="http://schemas.microsoft.com/office/powerpoint/2010/main" val="286191314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arn(inVertical)">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FB249888-D964-4296-A46A-AC22F82DD744}"/>
              </a:ext>
            </a:extLst>
          </p:cNvPr>
          <p:cNvPicPr>
            <a:picLocks noChangeAspect="1"/>
          </p:cNvPicPr>
          <p:nvPr/>
        </p:nvPicPr>
        <p:blipFill>
          <a:blip r:embed="rId3"/>
          <a:stretch>
            <a:fillRect/>
          </a:stretch>
        </p:blipFill>
        <p:spPr>
          <a:xfrm>
            <a:off x="376140" y="232011"/>
            <a:ext cx="11439720" cy="2227998"/>
          </a:xfrm>
          <a:prstGeom prst="rect">
            <a:avLst/>
          </a:prstGeom>
          <a:ln>
            <a:no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159BF797-5056-4B66-A5DB-21DD6CEC5A82}"/>
              </a:ext>
            </a:extLst>
          </p:cNvPr>
          <p:cNvPicPr>
            <a:picLocks noChangeAspect="1"/>
          </p:cNvPicPr>
          <p:nvPr/>
        </p:nvPicPr>
        <p:blipFill>
          <a:blip r:embed="rId4"/>
          <a:stretch>
            <a:fillRect/>
          </a:stretch>
        </p:blipFill>
        <p:spPr>
          <a:xfrm>
            <a:off x="1679387" y="2837996"/>
            <a:ext cx="9361652" cy="4020004"/>
          </a:xfrm>
          <a:prstGeom prst="rect">
            <a:avLst/>
          </a:prstGeom>
        </p:spPr>
      </p:pic>
    </p:spTree>
    <p:extLst>
      <p:ext uri="{BB962C8B-B14F-4D97-AF65-F5344CB8AC3E}">
        <p14:creationId xmlns:p14="http://schemas.microsoft.com/office/powerpoint/2010/main" val="67906219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arn(inVertical)">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283078A-1218-4A7B-AFC2-1716E9B2DC18}"/>
              </a:ext>
            </a:extLst>
          </p:cNvPr>
          <p:cNvPicPr>
            <a:picLocks noChangeAspect="1"/>
          </p:cNvPicPr>
          <p:nvPr/>
        </p:nvPicPr>
        <p:blipFill>
          <a:blip r:embed="rId2"/>
          <a:stretch>
            <a:fillRect/>
          </a:stretch>
        </p:blipFill>
        <p:spPr>
          <a:xfrm>
            <a:off x="503079" y="997857"/>
            <a:ext cx="11185842" cy="486228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9092657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17443-10BC-4078-8CF2-23E75B0CC2D2}"/>
              </a:ext>
            </a:extLst>
          </p:cNvPr>
          <p:cNvSpPr>
            <a:spLocks noGrp="1"/>
          </p:cNvSpPr>
          <p:nvPr>
            <p:ph type="title"/>
          </p:nvPr>
        </p:nvSpPr>
        <p:spPr>
          <a:xfrm>
            <a:off x="5798025" y="399057"/>
            <a:ext cx="5217172" cy="1158857"/>
          </a:xfrm>
        </p:spPr>
        <p:txBody>
          <a:bodyPr>
            <a:normAutofit fontScale="90000"/>
          </a:bodyPr>
          <a:lstStyle/>
          <a:p>
            <a:pPr algn="ctr"/>
            <a:r>
              <a:rPr lang="vi-VN"/>
              <a:t>Edgar Frank Co</a:t>
            </a:r>
            <a:r>
              <a:rPr lang="en-US"/>
              <a:t>dd</a:t>
            </a:r>
            <a:br>
              <a:rPr lang="en-US"/>
            </a:br>
            <a:r>
              <a:rPr lang="vi-VN" sz="3600"/>
              <a:t>(1923-2003)</a:t>
            </a:r>
            <a:endParaRPr lang="en-US" dirty="0"/>
          </a:p>
        </p:txBody>
      </p:sp>
      <p:sp>
        <p:nvSpPr>
          <p:cNvPr id="3" name="Content Placeholder 2">
            <a:extLst>
              <a:ext uri="{FF2B5EF4-FFF2-40B4-BE49-F238E27FC236}">
                <a16:creationId xmlns:a16="http://schemas.microsoft.com/office/drawing/2014/main" id="{8CDA3474-C14B-42A3-AF12-888807AB7218}"/>
              </a:ext>
            </a:extLst>
          </p:cNvPr>
          <p:cNvSpPr>
            <a:spLocks noGrp="1"/>
          </p:cNvSpPr>
          <p:nvPr>
            <p:ph idx="1"/>
          </p:nvPr>
        </p:nvSpPr>
        <p:spPr>
          <a:xfrm>
            <a:off x="5500048" y="1897711"/>
            <a:ext cx="5813126" cy="3752461"/>
          </a:xfrm>
        </p:spPr>
        <p:txBody>
          <a:bodyPr>
            <a:normAutofit/>
          </a:bodyPr>
          <a:lstStyle/>
          <a:p>
            <a:pPr marL="0" indent="3175" algn="just"/>
            <a:r>
              <a:rPr lang="en-US">
                <a:solidFill>
                  <a:schemeClr val="tx1">
                    <a:lumMod val="85000"/>
                    <a:lumOff val="15000"/>
                  </a:schemeClr>
                </a:solidFill>
              </a:rPr>
              <a:t>Từ những n</a:t>
            </a:r>
            <a:r>
              <a:rPr lang="vi-VN">
                <a:solidFill>
                  <a:schemeClr val="tx1">
                    <a:lumMod val="85000"/>
                    <a:lumOff val="15000"/>
                  </a:schemeClr>
                </a:solidFill>
              </a:rPr>
              <a:t>ăm 1970, Edgar Frank Co</a:t>
            </a:r>
            <a:r>
              <a:rPr lang="en-US">
                <a:solidFill>
                  <a:schemeClr val="tx1">
                    <a:lumMod val="85000"/>
                    <a:lumOff val="15000"/>
                  </a:schemeClr>
                </a:solidFill>
              </a:rPr>
              <a:t>dd </a:t>
            </a:r>
            <a:r>
              <a:rPr lang="vi-VN">
                <a:solidFill>
                  <a:schemeClr val="tx1">
                    <a:lumMod val="85000"/>
                    <a:lumOff val="15000"/>
                  </a:schemeClr>
                </a:solidFill>
              </a:rPr>
              <a:t>đã đề xuất mô hình CSDL quan hệ.</a:t>
            </a:r>
            <a:r>
              <a:rPr lang="en-US">
                <a:solidFill>
                  <a:schemeClr val="tx1">
                    <a:lumMod val="85000"/>
                    <a:lumOff val="15000"/>
                  </a:schemeClr>
                </a:solidFill>
              </a:rPr>
              <a:t> </a:t>
            </a:r>
            <a:r>
              <a:rPr lang="vi-VN">
                <a:solidFill>
                  <a:schemeClr val="tx1">
                    <a:lumMod val="85000"/>
                    <a:lumOff val="15000"/>
                  </a:schemeClr>
                </a:solidFill>
              </a:rPr>
              <a:t>Mô hình này nhanh chóng trở thành mô hình được dùng phổ biến nhất, nó xuất hiện trong hầu khắp các ứng dụng quản lí, kể cả trong các ứng dụng th</a:t>
            </a:r>
            <a:r>
              <a:rPr lang="en-US">
                <a:solidFill>
                  <a:schemeClr val="tx1">
                    <a:lumMod val="85000"/>
                    <a:lumOff val="15000"/>
                  </a:schemeClr>
                </a:solidFill>
              </a:rPr>
              <a:t>ư</a:t>
            </a:r>
            <a:r>
              <a:rPr lang="vi-VN">
                <a:solidFill>
                  <a:schemeClr val="tx1">
                    <a:lumMod val="85000"/>
                    <a:lumOff val="15000"/>
                  </a:schemeClr>
                </a:solidFill>
              </a:rPr>
              <a:t> t</a:t>
            </a:r>
            <a:r>
              <a:rPr lang="en-US">
                <a:solidFill>
                  <a:schemeClr val="tx1">
                    <a:lumMod val="85000"/>
                    <a:lumOff val="15000"/>
                  </a:schemeClr>
                </a:solidFill>
              </a:rPr>
              <a:t>í</a:t>
            </a:r>
            <a:r>
              <a:rPr lang="vi-VN">
                <a:solidFill>
                  <a:schemeClr val="tx1">
                    <a:lumMod val="85000"/>
                    <a:lumOff val="15000"/>
                  </a:schemeClr>
                </a:solidFill>
              </a:rPr>
              <a:t>n điện tử, mạng xã hội…</a:t>
            </a:r>
            <a:endParaRPr lang="en-US">
              <a:solidFill>
                <a:schemeClr val="tx1">
                  <a:lumMod val="85000"/>
                  <a:lumOff val="15000"/>
                </a:schemeClr>
              </a:solidFill>
            </a:endParaRPr>
          </a:p>
          <a:p>
            <a:pPr marL="0" indent="3175"/>
            <a:r>
              <a:rPr lang="vi-VN" sz="2800">
                <a:solidFill>
                  <a:srgbClr val="7030A0"/>
                </a:solidFill>
              </a:rPr>
              <a:t>Vậy mô hình </a:t>
            </a:r>
            <a:r>
              <a:rPr lang="en-US" sz="2800">
                <a:solidFill>
                  <a:srgbClr val="7030A0"/>
                </a:solidFill>
              </a:rPr>
              <a:t>CSDL</a:t>
            </a:r>
            <a:r>
              <a:rPr lang="vi-VN" sz="2800">
                <a:solidFill>
                  <a:srgbClr val="7030A0"/>
                </a:solidFill>
              </a:rPr>
              <a:t> </a:t>
            </a:r>
            <a:r>
              <a:rPr lang="en-US" sz="2800">
                <a:solidFill>
                  <a:srgbClr val="7030A0"/>
                </a:solidFill>
              </a:rPr>
              <a:t>quan hệ </a:t>
            </a:r>
            <a:r>
              <a:rPr lang="vi-VN" sz="2800">
                <a:solidFill>
                  <a:srgbClr val="7030A0"/>
                </a:solidFill>
              </a:rPr>
              <a:t>là gì?</a:t>
            </a:r>
            <a:endParaRPr lang="en-US" sz="2800" dirty="0">
              <a:solidFill>
                <a:srgbClr val="7030A0"/>
              </a:solidFill>
            </a:endParaRPr>
          </a:p>
        </p:txBody>
      </p:sp>
      <p:grpSp>
        <p:nvGrpSpPr>
          <p:cNvPr id="10" name="Graphic 4">
            <a:extLst>
              <a:ext uri="{FF2B5EF4-FFF2-40B4-BE49-F238E27FC236}">
                <a16:creationId xmlns:a16="http://schemas.microsoft.com/office/drawing/2014/main" id="{B3F06BA9-200A-4546-8C17-44B9F05FF8EF}"/>
              </a:ext>
              <a:ext uri="{C183D7F6-B498-43B3-948B-1728B52AA6E4}">
                <adec:decorative xmlns:adec="http://schemas.microsoft.com/office/drawing/2017/decorative" val="1"/>
              </a:ext>
            </a:extLst>
          </p:cNvPr>
          <p:cNvGrpSpPr/>
          <p:nvPr/>
        </p:nvGrpSpPr>
        <p:grpSpPr>
          <a:xfrm>
            <a:off x="3905471" y="4389402"/>
            <a:ext cx="975170" cy="975170"/>
            <a:chOff x="5829300" y="3162300"/>
            <a:chExt cx="532257" cy="532257"/>
          </a:xfrm>
          <a:solidFill>
            <a:schemeClr val="tx1"/>
          </a:solidFill>
        </p:grpSpPr>
        <p:sp>
          <p:nvSpPr>
            <p:cNvPr id="11" name="Freeform: Shape 10">
              <a:extLst>
                <a:ext uri="{FF2B5EF4-FFF2-40B4-BE49-F238E27FC236}">
                  <a16:creationId xmlns:a16="http://schemas.microsoft.com/office/drawing/2014/main" id="{C400A030-8E40-42C9-BA7A-C57F560E28BD}"/>
                </a:ext>
              </a:extLst>
            </p:cNvPr>
            <p:cNvSpPr/>
            <p:nvPr/>
          </p:nvSpPr>
          <p:spPr>
            <a:xfrm>
              <a:off x="5859208" y="3192208"/>
              <a:ext cx="112966" cy="112966"/>
            </a:xfrm>
            <a:custGeom>
              <a:avLst/>
              <a:gdLst>
                <a:gd name="connsiteX0" fmla="*/ 112967 w 112966"/>
                <a:gd name="connsiteY0" fmla="*/ 0 h 112966"/>
                <a:gd name="connsiteX1" fmla="*/ 0 w 112966"/>
                <a:gd name="connsiteY1" fmla="*/ 112967 h 112966"/>
                <a:gd name="connsiteX2" fmla="*/ 112967 w 112966"/>
                <a:gd name="connsiteY2" fmla="*/ 0 h 112966"/>
              </a:gdLst>
              <a:ahLst/>
              <a:cxnLst>
                <a:cxn ang="0">
                  <a:pos x="connsiteX0" y="connsiteY0"/>
                </a:cxn>
                <a:cxn ang="0">
                  <a:pos x="connsiteX1" y="connsiteY1"/>
                </a:cxn>
                <a:cxn ang="0">
                  <a:pos x="connsiteX2" y="connsiteY2"/>
                </a:cxn>
              </a:cxnLst>
              <a:rect l="l" t="t" r="r" b="b"/>
              <a:pathLst>
                <a:path w="112966" h="112966">
                  <a:moveTo>
                    <a:pt x="112967" y="0"/>
                  </a:moveTo>
                  <a:lnTo>
                    <a:pt x="0" y="112967"/>
                  </a:lnTo>
                  <a:cubicBezTo>
                    <a:pt x="25356" y="64747"/>
                    <a:pt x="64747" y="25356"/>
                    <a:pt x="112967" y="0"/>
                  </a:cubicBezTo>
                  <a:close/>
                </a:path>
              </a:pathLst>
            </a:custGeom>
            <a:grpFill/>
            <a:ln w="9525"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CA1CB66D-59CC-42E6-9F71-86AA8F1A83E5}"/>
                </a:ext>
              </a:extLst>
            </p:cNvPr>
            <p:cNvSpPr/>
            <p:nvPr/>
          </p:nvSpPr>
          <p:spPr>
            <a:xfrm>
              <a:off x="5831205" y="3164205"/>
              <a:ext cx="230314" cy="230314"/>
            </a:xfrm>
            <a:custGeom>
              <a:avLst/>
              <a:gdLst>
                <a:gd name="connsiteX0" fmla="*/ 230314 w 230314"/>
                <a:gd name="connsiteY0" fmla="*/ 0 h 230314"/>
                <a:gd name="connsiteX1" fmla="*/ 0 w 230314"/>
                <a:gd name="connsiteY1" fmla="*/ 230314 h 230314"/>
                <a:gd name="connsiteX2" fmla="*/ 3524 w 230314"/>
                <a:gd name="connsiteY2" fmla="*/ 209550 h 230314"/>
                <a:gd name="connsiteX3" fmla="*/ 209550 w 230314"/>
                <a:gd name="connsiteY3" fmla="*/ 3524 h 230314"/>
                <a:gd name="connsiteX4" fmla="*/ 230314 w 230314"/>
                <a:gd name="connsiteY4" fmla="*/ 0 h 230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14" h="230314">
                  <a:moveTo>
                    <a:pt x="230314" y="0"/>
                  </a:moveTo>
                  <a:lnTo>
                    <a:pt x="0" y="230314"/>
                  </a:lnTo>
                  <a:cubicBezTo>
                    <a:pt x="953" y="223361"/>
                    <a:pt x="2095" y="216408"/>
                    <a:pt x="3524" y="209550"/>
                  </a:cubicBezTo>
                  <a:lnTo>
                    <a:pt x="209550" y="3524"/>
                  </a:lnTo>
                  <a:cubicBezTo>
                    <a:pt x="216408" y="2095"/>
                    <a:pt x="223361" y="953"/>
                    <a:pt x="230314" y="0"/>
                  </a:cubicBezTo>
                  <a:close/>
                </a:path>
              </a:pathLst>
            </a:custGeom>
            <a:grpFill/>
            <a:ln w="9525"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952CF368-1DA1-4155-A52E-1D7117691AE2}"/>
                </a:ext>
              </a:extLst>
            </p:cNvPr>
            <p:cNvSpPr/>
            <p:nvPr/>
          </p:nvSpPr>
          <p:spPr>
            <a:xfrm>
              <a:off x="5829300" y="3162300"/>
              <a:ext cx="294131" cy="294131"/>
            </a:xfrm>
            <a:custGeom>
              <a:avLst/>
              <a:gdLst>
                <a:gd name="connsiteX0" fmla="*/ 294132 w 294131"/>
                <a:gd name="connsiteY0" fmla="*/ 1238 h 294131"/>
                <a:gd name="connsiteX1" fmla="*/ 1238 w 294131"/>
                <a:gd name="connsiteY1" fmla="*/ 294132 h 294131"/>
                <a:gd name="connsiteX2" fmla="*/ 0 w 294131"/>
                <a:gd name="connsiteY2" fmla="*/ 278225 h 294131"/>
                <a:gd name="connsiteX3" fmla="*/ 278225 w 294131"/>
                <a:gd name="connsiteY3" fmla="*/ 0 h 294131"/>
                <a:gd name="connsiteX4" fmla="*/ 294132 w 294131"/>
                <a:gd name="connsiteY4" fmla="*/ 1238 h 294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131" h="294131">
                  <a:moveTo>
                    <a:pt x="294132" y="1238"/>
                  </a:moveTo>
                  <a:lnTo>
                    <a:pt x="1238" y="294132"/>
                  </a:lnTo>
                  <a:cubicBezTo>
                    <a:pt x="667" y="288893"/>
                    <a:pt x="0" y="283559"/>
                    <a:pt x="0" y="278225"/>
                  </a:cubicBezTo>
                  <a:lnTo>
                    <a:pt x="278225" y="0"/>
                  </a:lnTo>
                  <a:cubicBezTo>
                    <a:pt x="283559" y="0"/>
                    <a:pt x="288893" y="667"/>
                    <a:pt x="294132" y="1238"/>
                  </a:cubicBezTo>
                  <a:close/>
                </a:path>
              </a:pathLst>
            </a:custGeom>
            <a:grpFill/>
            <a:ln w="9525"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BCCA8E35-7EDC-4B54-84C6-7439052862AD}"/>
                </a:ext>
              </a:extLst>
            </p:cNvPr>
            <p:cNvSpPr/>
            <p:nvPr/>
          </p:nvSpPr>
          <p:spPr>
            <a:xfrm>
              <a:off x="5837205" y="3170110"/>
              <a:ext cx="337184" cy="337280"/>
            </a:xfrm>
            <a:custGeom>
              <a:avLst/>
              <a:gdLst>
                <a:gd name="connsiteX0" fmla="*/ 337185 w 337184"/>
                <a:gd name="connsiteY0" fmla="*/ 3905 h 337280"/>
                <a:gd name="connsiteX1" fmla="*/ 3810 w 337184"/>
                <a:gd name="connsiteY1" fmla="*/ 337280 h 337280"/>
                <a:gd name="connsiteX2" fmla="*/ 0 w 337184"/>
                <a:gd name="connsiteY2" fmla="*/ 323850 h 337280"/>
                <a:gd name="connsiteX3" fmla="*/ 323850 w 337184"/>
                <a:gd name="connsiteY3" fmla="*/ 0 h 337280"/>
                <a:gd name="connsiteX4" fmla="*/ 337185 w 337184"/>
                <a:gd name="connsiteY4" fmla="*/ 3905 h 33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184" h="337280">
                  <a:moveTo>
                    <a:pt x="337185" y="3905"/>
                  </a:moveTo>
                  <a:lnTo>
                    <a:pt x="3810" y="337280"/>
                  </a:lnTo>
                  <a:cubicBezTo>
                    <a:pt x="2381" y="332899"/>
                    <a:pt x="1143" y="328422"/>
                    <a:pt x="0" y="323850"/>
                  </a:cubicBezTo>
                  <a:lnTo>
                    <a:pt x="323850" y="0"/>
                  </a:lnTo>
                  <a:cubicBezTo>
                    <a:pt x="328327" y="1715"/>
                    <a:pt x="332804" y="2477"/>
                    <a:pt x="337185" y="3905"/>
                  </a:cubicBezTo>
                  <a:close/>
                </a:path>
              </a:pathLst>
            </a:custGeom>
            <a:grpFill/>
            <a:ln w="9525"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DA6E2D90-3377-475B-908D-8DEFA47683EF}"/>
                </a:ext>
              </a:extLst>
            </p:cNvPr>
            <p:cNvSpPr/>
            <p:nvPr/>
          </p:nvSpPr>
          <p:spPr>
            <a:xfrm>
              <a:off x="5853207" y="3186207"/>
              <a:ext cx="364617" cy="364617"/>
            </a:xfrm>
            <a:custGeom>
              <a:avLst/>
              <a:gdLst>
                <a:gd name="connsiteX0" fmla="*/ 364617 w 364617"/>
                <a:gd name="connsiteY0" fmla="*/ 5620 h 364617"/>
                <a:gd name="connsiteX1" fmla="*/ 5620 w 364617"/>
                <a:gd name="connsiteY1" fmla="*/ 364617 h 364617"/>
                <a:gd name="connsiteX2" fmla="*/ 0 w 364617"/>
                <a:gd name="connsiteY2" fmla="*/ 353187 h 364617"/>
                <a:gd name="connsiteX3" fmla="*/ 353187 w 364617"/>
                <a:gd name="connsiteY3" fmla="*/ 0 h 364617"/>
                <a:gd name="connsiteX4" fmla="*/ 364617 w 364617"/>
                <a:gd name="connsiteY4" fmla="*/ 5620 h 3646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17" h="364617">
                  <a:moveTo>
                    <a:pt x="364617" y="5620"/>
                  </a:moveTo>
                  <a:lnTo>
                    <a:pt x="5620" y="364617"/>
                  </a:lnTo>
                  <a:cubicBezTo>
                    <a:pt x="3620" y="360902"/>
                    <a:pt x="1715" y="357092"/>
                    <a:pt x="0" y="353187"/>
                  </a:cubicBezTo>
                  <a:lnTo>
                    <a:pt x="353187" y="0"/>
                  </a:lnTo>
                  <a:cubicBezTo>
                    <a:pt x="357092" y="1715"/>
                    <a:pt x="360902" y="3715"/>
                    <a:pt x="364617" y="5620"/>
                  </a:cubicBezTo>
                  <a:close/>
                </a:path>
              </a:pathLst>
            </a:custGeom>
            <a:grpFill/>
            <a:ln w="9525" cap="flat">
              <a:no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976911BE-DDD3-49C2-8777-60297A15722D}"/>
                </a:ext>
              </a:extLst>
            </p:cNvPr>
            <p:cNvSpPr/>
            <p:nvPr/>
          </p:nvSpPr>
          <p:spPr>
            <a:xfrm>
              <a:off x="5875305" y="3208305"/>
              <a:ext cx="380238" cy="380238"/>
            </a:xfrm>
            <a:custGeom>
              <a:avLst/>
              <a:gdLst>
                <a:gd name="connsiteX0" fmla="*/ 380238 w 380238"/>
                <a:gd name="connsiteY0" fmla="*/ 7239 h 380238"/>
                <a:gd name="connsiteX1" fmla="*/ 7239 w 380238"/>
                <a:gd name="connsiteY1" fmla="*/ 380238 h 380238"/>
                <a:gd name="connsiteX2" fmla="*/ 0 w 380238"/>
                <a:gd name="connsiteY2" fmla="*/ 370713 h 380238"/>
                <a:gd name="connsiteX3" fmla="*/ 370237 w 380238"/>
                <a:gd name="connsiteY3" fmla="*/ 0 h 380238"/>
                <a:gd name="connsiteX4" fmla="*/ 380238 w 380238"/>
                <a:gd name="connsiteY4" fmla="*/ 7239 h 38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238" h="380238">
                  <a:moveTo>
                    <a:pt x="380238" y="7239"/>
                  </a:moveTo>
                  <a:lnTo>
                    <a:pt x="7239" y="380238"/>
                  </a:lnTo>
                  <a:cubicBezTo>
                    <a:pt x="4763" y="377000"/>
                    <a:pt x="2381" y="373571"/>
                    <a:pt x="0" y="370713"/>
                  </a:cubicBezTo>
                  <a:lnTo>
                    <a:pt x="370237" y="0"/>
                  </a:lnTo>
                  <a:cubicBezTo>
                    <a:pt x="373571" y="2381"/>
                    <a:pt x="377000" y="4763"/>
                    <a:pt x="380238" y="7239"/>
                  </a:cubicBezTo>
                  <a:close/>
                </a:path>
              </a:pathLst>
            </a:custGeom>
            <a:grpFill/>
            <a:ln w="9525" cap="flat">
              <a:no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45515E5A-13FF-4F37-9082-C1584EE41A65}"/>
                </a:ext>
              </a:extLst>
            </p:cNvPr>
            <p:cNvSpPr/>
            <p:nvPr/>
          </p:nvSpPr>
          <p:spPr>
            <a:xfrm>
              <a:off x="5902832" y="3235832"/>
              <a:ext cx="385191" cy="385191"/>
            </a:xfrm>
            <a:custGeom>
              <a:avLst/>
              <a:gdLst>
                <a:gd name="connsiteX0" fmla="*/ 380905 w 385191"/>
                <a:gd name="connsiteY0" fmla="*/ 4286 h 385191"/>
                <a:gd name="connsiteX1" fmla="*/ 385191 w 385191"/>
                <a:gd name="connsiteY1" fmla="*/ 8573 h 385191"/>
                <a:gd name="connsiteX2" fmla="*/ 8573 w 385191"/>
                <a:gd name="connsiteY2" fmla="*/ 385191 h 385191"/>
                <a:gd name="connsiteX3" fmla="*/ 4286 w 385191"/>
                <a:gd name="connsiteY3" fmla="*/ 380905 h 385191"/>
                <a:gd name="connsiteX4" fmla="*/ 0 w 385191"/>
                <a:gd name="connsiteY4" fmla="*/ 376523 h 385191"/>
                <a:gd name="connsiteX5" fmla="*/ 376523 w 385191"/>
                <a:gd name="connsiteY5" fmla="*/ 0 h 385191"/>
                <a:gd name="connsiteX6" fmla="*/ 380905 w 385191"/>
                <a:gd name="connsiteY6" fmla="*/ 4286 h 38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191" h="385191">
                  <a:moveTo>
                    <a:pt x="380905" y="4286"/>
                  </a:moveTo>
                  <a:lnTo>
                    <a:pt x="385191" y="8573"/>
                  </a:lnTo>
                  <a:lnTo>
                    <a:pt x="8573" y="385191"/>
                  </a:lnTo>
                  <a:lnTo>
                    <a:pt x="4286" y="380905"/>
                  </a:lnTo>
                  <a:cubicBezTo>
                    <a:pt x="2762" y="379476"/>
                    <a:pt x="1334" y="377952"/>
                    <a:pt x="0" y="376523"/>
                  </a:cubicBezTo>
                  <a:lnTo>
                    <a:pt x="376523" y="0"/>
                  </a:lnTo>
                  <a:cubicBezTo>
                    <a:pt x="377952" y="1334"/>
                    <a:pt x="379476" y="2667"/>
                    <a:pt x="380905" y="4286"/>
                  </a:cubicBezTo>
                  <a:close/>
                </a:path>
              </a:pathLst>
            </a:custGeom>
            <a:grpFill/>
            <a:ln w="9525"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A9C90979-3DFC-45AC-8666-5039DC14B0B5}"/>
                </a:ext>
              </a:extLst>
            </p:cNvPr>
            <p:cNvSpPr/>
            <p:nvPr/>
          </p:nvSpPr>
          <p:spPr>
            <a:xfrm>
              <a:off x="5935789" y="3268313"/>
              <a:ext cx="379761" cy="380237"/>
            </a:xfrm>
            <a:custGeom>
              <a:avLst/>
              <a:gdLst>
                <a:gd name="connsiteX0" fmla="*/ 372428 w 379761"/>
                <a:gd name="connsiteY0" fmla="*/ 0 h 380237"/>
                <a:gd name="connsiteX1" fmla="*/ 379762 w 379761"/>
                <a:gd name="connsiteY1" fmla="*/ 9525 h 380237"/>
                <a:gd name="connsiteX2" fmla="*/ 9525 w 379761"/>
                <a:gd name="connsiteY2" fmla="*/ 380238 h 380237"/>
                <a:gd name="connsiteX3" fmla="*/ 0 w 379761"/>
                <a:gd name="connsiteY3" fmla="*/ 372904 h 380237"/>
              </a:gdLst>
              <a:ahLst/>
              <a:cxnLst>
                <a:cxn ang="0">
                  <a:pos x="connsiteX0" y="connsiteY0"/>
                </a:cxn>
                <a:cxn ang="0">
                  <a:pos x="connsiteX1" y="connsiteY1"/>
                </a:cxn>
                <a:cxn ang="0">
                  <a:pos x="connsiteX2" y="connsiteY2"/>
                </a:cxn>
                <a:cxn ang="0">
                  <a:pos x="connsiteX3" y="connsiteY3"/>
                </a:cxn>
              </a:cxnLst>
              <a:rect l="l" t="t" r="r" b="b"/>
              <a:pathLst>
                <a:path w="379761" h="380237">
                  <a:moveTo>
                    <a:pt x="372428" y="0"/>
                  </a:moveTo>
                  <a:cubicBezTo>
                    <a:pt x="374999" y="3239"/>
                    <a:pt x="377381" y="6572"/>
                    <a:pt x="379762" y="9525"/>
                  </a:cubicBezTo>
                  <a:lnTo>
                    <a:pt x="9525" y="380238"/>
                  </a:lnTo>
                  <a:cubicBezTo>
                    <a:pt x="6096" y="377857"/>
                    <a:pt x="2762" y="375476"/>
                    <a:pt x="0" y="372904"/>
                  </a:cubicBezTo>
                  <a:close/>
                </a:path>
              </a:pathLst>
            </a:custGeom>
            <a:grpFill/>
            <a:ln w="9525"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7569B7C0-8434-4008-B429-35208DBDC7CB}"/>
                </a:ext>
              </a:extLst>
            </p:cNvPr>
            <p:cNvSpPr/>
            <p:nvPr/>
          </p:nvSpPr>
          <p:spPr>
            <a:xfrm>
              <a:off x="5972841" y="3305841"/>
              <a:ext cx="364807" cy="364807"/>
            </a:xfrm>
            <a:custGeom>
              <a:avLst/>
              <a:gdLst>
                <a:gd name="connsiteX0" fmla="*/ 359188 w 364807"/>
                <a:gd name="connsiteY0" fmla="*/ 0 h 364807"/>
                <a:gd name="connsiteX1" fmla="*/ 364808 w 364807"/>
                <a:gd name="connsiteY1" fmla="*/ 11621 h 364807"/>
                <a:gd name="connsiteX2" fmla="*/ 11621 w 364807"/>
                <a:gd name="connsiteY2" fmla="*/ 364808 h 364807"/>
                <a:gd name="connsiteX3" fmla="*/ 0 w 364807"/>
                <a:gd name="connsiteY3" fmla="*/ 359188 h 364807"/>
              </a:gdLst>
              <a:ahLst/>
              <a:cxnLst>
                <a:cxn ang="0">
                  <a:pos x="connsiteX0" y="connsiteY0"/>
                </a:cxn>
                <a:cxn ang="0">
                  <a:pos x="connsiteX1" y="connsiteY1"/>
                </a:cxn>
                <a:cxn ang="0">
                  <a:pos x="connsiteX2" y="connsiteY2"/>
                </a:cxn>
                <a:cxn ang="0">
                  <a:pos x="connsiteX3" y="connsiteY3"/>
                </a:cxn>
              </a:cxnLst>
              <a:rect l="l" t="t" r="r" b="b"/>
              <a:pathLst>
                <a:path w="364807" h="364807">
                  <a:moveTo>
                    <a:pt x="359188" y="0"/>
                  </a:moveTo>
                  <a:cubicBezTo>
                    <a:pt x="361188" y="3905"/>
                    <a:pt x="362998" y="7715"/>
                    <a:pt x="364808" y="11621"/>
                  </a:cubicBezTo>
                  <a:lnTo>
                    <a:pt x="11621" y="364808"/>
                  </a:lnTo>
                  <a:cubicBezTo>
                    <a:pt x="7715" y="362998"/>
                    <a:pt x="3905" y="361188"/>
                    <a:pt x="0" y="359188"/>
                  </a:cubicBezTo>
                  <a:close/>
                </a:path>
              </a:pathLst>
            </a:custGeom>
            <a:grpFill/>
            <a:ln w="9525"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00C7D2AA-D66F-4FD5-BB00-10B56396B8A1}"/>
                </a:ext>
              </a:extLst>
            </p:cNvPr>
            <p:cNvSpPr/>
            <p:nvPr/>
          </p:nvSpPr>
          <p:spPr>
            <a:xfrm>
              <a:off x="6016370" y="3349466"/>
              <a:ext cx="337280" cy="337280"/>
            </a:xfrm>
            <a:custGeom>
              <a:avLst/>
              <a:gdLst>
                <a:gd name="connsiteX0" fmla="*/ 333470 w 337280"/>
                <a:gd name="connsiteY0" fmla="*/ 0 h 337280"/>
                <a:gd name="connsiteX1" fmla="*/ 337280 w 337280"/>
                <a:gd name="connsiteY1" fmla="*/ 13430 h 337280"/>
                <a:gd name="connsiteX2" fmla="*/ 13430 w 337280"/>
                <a:gd name="connsiteY2" fmla="*/ 337280 h 337280"/>
                <a:gd name="connsiteX3" fmla="*/ 0 w 337280"/>
                <a:gd name="connsiteY3" fmla="*/ 333470 h 337280"/>
              </a:gdLst>
              <a:ahLst/>
              <a:cxnLst>
                <a:cxn ang="0">
                  <a:pos x="connsiteX0" y="connsiteY0"/>
                </a:cxn>
                <a:cxn ang="0">
                  <a:pos x="connsiteX1" y="connsiteY1"/>
                </a:cxn>
                <a:cxn ang="0">
                  <a:pos x="connsiteX2" y="connsiteY2"/>
                </a:cxn>
                <a:cxn ang="0">
                  <a:pos x="connsiteX3" y="connsiteY3"/>
                </a:cxn>
              </a:cxnLst>
              <a:rect l="l" t="t" r="r" b="b"/>
              <a:pathLst>
                <a:path w="337280" h="337280">
                  <a:moveTo>
                    <a:pt x="333470" y="0"/>
                  </a:moveTo>
                  <a:cubicBezTo>
                    <a:pt x="334899" y="4382"/>
                    <a:pt x="336137" y="8858"/>
                    <a:pt x="337280" y="13430"/>
                  </a:cubicBezTo>
                  <a:lnTo>
                    <a:pt x="13430" y="337280"/>
                  </a:lnTo>
                  <a:cubicBezTo>
                    <a:pt x="8858" y="336137"/>
                    <a:pt x="4382" y="334899"/>
                    <a:pt x="0" y="333470"/>
                  </a:cubicBezTo>
                  <a:close/>
                </a:path>
              </a:pathLst>
            </a:custGeom>
            <a:grpFill/>
            <a:ln w="9525"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29431D87-07CF-4EBC-97C6-C6BB01161057}"/>
                </a:ext>
              </a:extLst>
            </p:cNvPr>
            <p:cNvSpPr/>
            <p:nvPr/>
          </p:nvSpPr>
          <p:spPr>
            <a:xfrm>
              <a:off x="6067329" y="3400425"/>
              <a:ext cx="294227" cy="294132"/>
            </a:xfrm>
            <a:custGeom>
              <a:avLst/>
              <a:gdLst>
                <a:gd name="connsiteX0" fmla="*/ 292989 w 294227"/>
                <a:gd name="connsiteY0" fmla="*/ 0 h 294132"/>
                <a:gd name="connsiteX1" fmla="*/ 294227 w 294227"/>
                <a:gd name="connsiteY1" fmla="*/ 15907 h 294132"/>
                <a:gd name="connsiteX2" fmla="*/ 15907 w 294227"/>
                <a:gd name="connsiteY2" fmla="*/ 294132 h 294132"/>
                <a:gd name="connsiteX3" fmla="*/ 0 w 294227"/>
                <a:gd name="connsiteY3" fmla="*/ 292894 h 294132"/>
              </a:gdLst>
              <a:ahLst/>
              <a:cxnLst>
                <a:cxn ang="0">
                  <a:pos x="connsiteX0" y="connsiteY0"/>
                </a:cxn>
                <a:cxn ang="0">
                  <a:pos x="connsiteX1" y="connsiteY1"/>
                </a:cxn>
                <a:cxn ang="0">
                  <a:pos x="connsiteX2" y="connsiteY2"/>
                </a:cxn>
                <a:cxn ang="0">
                  <a:pos x="connsiteX3" y="connsiteY3"/>
                </a:cxn>
              </a:cxnLst>
              <a:rect l="l" t="t" r="r" b="b"/>
              <a:pathLst>
                <a:path w="294227" h="294132">
                  <a:moveTo>
                    <a:pt x="292989" y="0"/>
                  </a:moveTo>
                  <a:cubicBezTo>
                    <a:pt x="293561" y="5334"/>
                    <a:pt x="293942" y="10668"/>
                    <a:pt x="294227" y="15907"/>
                  </a:cubicBezTo>
                  <a:lnTo>
                    <a:pt x="15907" y="294132"/>
                  </a:lnTo>
                  <a:cubicBezTo>
                    <a:pt x="10668" y="294132"/>
                    <a:pt x="5334" y="293465"/>
                    <a:pt x="0" y="292894"/>
                  </a:cubicBezTo>
                  <a:close/>
                </a:path>
              </a:pathLst>
            </a:custGeom>
            <a:grpFill/>
            <a:ln w="9525"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A9DF15BC-97AC-4CEB-A3B4-6F400C38A32F}"/>
                </a:ext>
              </a:extLst>
            </p:cNvPr>
            <p:cNvSpPr/>
            <p:nvPr/>
          </p:nvSpPr>
          <p:spPr>
            <a:xfrm>
              <a:off x="6129337" y="3462337"/>
              <a:ext cx="230314" cy="230314"/>
            </a:xfrm>
            <a:custGeom>
              <a:avLst/>
              <a:gdLst>
                <a:gd name="connsiteX0" fmla="*/ 230315 w 230314"/>
                <a:gd name="connsiteY0" fmla="*/ 0 h 230314"/>
                <a:gd name="connsiteX1" fmla="*/ 226886 w 230314"/>
                <a:gd name="connsiteY1" fmla="*/ 20574 h 230314"/>
                <a:gd name="connsiteX2" fmla="*/ 20669 w 230314"/>
                <a:gd name="connsiteY2" fmla="*/ 226790 h 230314"/>
                <a:gd name="connsiteX3" fmla="*/ 0 w 230314"/>
                <a:gd name="connsiteY3" fmla="*/ 230315 h 230314"/>
              </a:gdLst>
              <a:ahLst/>
              <a:cxnLst>
                <a:cxn ang="0">
                  <a:pos x="connsiteX0" y="connsiteY0"/>
                </a:cxn>
                <a:cxn ang="0">
                  <a:pos x="connsiteX1" y="connsiteY1"/>
                </a:cxn>
                <a:cxn ang="0">
                  <a:pos x="connsiteX2" y="connsiteY2"/>
                </a:cxn>
                <a:cxn ang="0">
                  <a:pos x="connsiteX3" y="connsiteY3"/>
                </a:cxn>
              </a:cxnLst>
              <a:rect l="l" t="t" r="r" b="b"/>
              <a:pathLst>
                <a:path w="230314" h="230314">
                  <a:moveTo>
                    <a:pt x="230315" y="0"/>
                  </a:moveTo>
                  <a:cubicBezTo>
                    <a:pt x="229457" y="6953"/>
                    <a:pt x="228314" y="13716"/>
                    <a:pt x="226886" y="20574"/>
                  </a:cubicBezTo>
                  <a:lnTo>
                    <a:pt x="20669" y="226790"/>
                  </a:lnTo>
                  <a:cubicBezTo>
                    <a:pt x="13811" y="228314"/>
                    <a:pt x="6953" y="229457"/>
                    <a:pt x="0" y="230315"/>
                  </a:cubicBezTo>
                  <a:close/>
                </a:path>
              </a:pathLst>
            </a:custGeom>
            <a:grpFill/>
            <a:ln w="9525"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9DA02847-240E-4210-ABB0-6789739465D3}"/>
                </a:ext>
              </a:extLst>
            </p:cNvPr>
            <p:cNvSpPr/>
            <p:nvPr/>
          </p:nvSpPr>
          <p:spPr>
            <a:xfrm>
              <a:off x="6218682" y="3551682"/>
              <a:ext cx="112871" cy="112871"/>
            </a:xfrm>
            <a:custGeom>
              <a:avLst/>
              <a:gdLst>
                <a:gd name="connsiteX0" fmla="*/ 112871 w 112871"/>
                <a:gd name="connsiteY0" fmla="*/ 0 h 112871"/>
                <a:gd name="connsiteX1" fmla="*/ 0 w 112871"/>
                <a:gd name="connsiteY1" fmla="*/ 112871 h 112871"/>
              </a:gdLst>
              <a:ahLst/>
              <a:cxnLst>
                <a:cxn ang="0">
                  <a:pos x="connsiteX0" y="connsiteY0"/>
                </a:cxn>
                <a:cxn ang="0">
                  <a:pos x="connsiteX1" y="connsiteY1"/>
                </a:cxn>
              </a:cxnLst>
              <a:rect l="l" t="t" r="r" b="b"/>
              <a:pathLst>
                <a:path w="112871" h="112871">
                  <a:moveTo>
                    <a:pt x="112871" y="0"/>
                  </a:moveTo>
                  <a:cubicBezTo>
                    <a:pt x="87618" y="48239"/>
                    <a:pt x="48239" y="87618"/>
                    <a:pt x="0" y="112871"/>
                  </a:cubicBezTo>
                  <a:close/>
                </a:path>
              </a:pathLst>
            </a:custGeom>
            <a:grpFill/>
            <a:ln w="9525" cap="flat">
              <a:noFill/>
              <a:prstDash val="solid"/>
              <a:miter/>
            </a:ln>
          </p:spPr>
          <p:txBody>
            <a:bodyPr rtlCol="0" anchor="ctr"/>
            <a:lstStyle/>
            <a:p>
              <a:endParaRPr lang="en-US" dirty="0"/>
            </a:p>
          </p:txBody>
        </p:sp>
      </p:grpSp>
      <p:pic>
        <p:nvPicPr>
          <p:cNvPr id="25" name="Picture Placeholder 24">
            <a:extLst>
              <a:ext uri="{FF2B5EF4-FFF2-40B4-BE49-F238E27FC236}">
                <a16:creationId xmlns:a16="http://schemas.microsoft.com/office/drawing/2014/main" id="{FB6D6E27-57FF-4D44-ACE8-A61575392E0B}"/>
              </a:ext>
            </a:extLst>
          </p:cNvPr>
          <p:cNvPicPr>
            <a:picLocks noGrp="1" noChangeAspect="1"/>
          </p:cNvPicPr>
          <p:nvPr>
            <p:ph type="pic" sz="quarter" idx="13"/>
          </p:nvPr>
        </p:nvPicPr>
        <p:blipFill>
          <a:blip r:embed="rId3"/>
          <a:srcRect t="18177" b="18177"/>
          <a:stretch>
            <a:fillRect/>
          </a:stretch>
        </p:blipFill>
        <p:spPr>
          <a:xfrm>
            <a:off x="1281793" y="1557914"/>
            <a:ext cx="3555043" cy="3217333"/>
          </a:xfrm>
          <a:prstGeom prst="rect">
            <a:avLst/>
          </a:prstGeom>
        </p:spPr>
      </p:pic>
    </p:spTree>
    <p:extLst>
      <p:ext uri="{BB962C8B-B14F-4D97-AF65-F5344CB8AC3E}">
        <p14:creationId xmlns:p14="http://schemas.microsoft.com/office/powerpoint/2010/main" val="23394119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B17EDBE-4FB7-472F-B26B-EB9ECD77B7A8}"/>
              </a:ext>
            </a:extLst>
          </p:cNvPr>
          <p:cNvSpPr>
            <a:spLocks noGrp="1"/>
          </p:cNvSpPr>
          <p:nvPr>
            <p:ph type="title"/>
          </p:nvPr>
        </p:nvSpPr>
        <p:spPr>
          <a:xfrm>
            <a:off x="1" y="0"/>
            <a:ext cx="5486400" cy="1288673"/>
          </a:xfrm>
        </p:spPr>
        <p:txBody>
          <a:bodyPr>
            <a:normAutofit fontScale="90000"/>
          </a:bodyPr>
          <a:lstStyle/>
          <a:p>
            <a:pPr algn="ctr"/>
            <a:r>
              <a:rPr lang="en-US"/>
              <a:t>1. Khái niệm CSDL quan hệ</a:t>
            </a:r>
            <a:endParaRPr lang="en-US" dirty="0"/>
          </a:p>
        </p:txBody>
      </p:sp>
      <p:sp>
        <p:nvSpPr>
          <p:cNvPr id="20" name="Slide Number Placeholder 19">
            <a:extLst>
              <a:ext uri="{FF2B5EF4-FFF2-40B4-BE49-F238E27FC236}">
                <a16:creationId xmlns:a16="http://schemas.microsoft.com/office/drawing/2014/main" id="{C427CAEE-862D-4FE1-99F2-70274992024D}"/>
              </a:ext>
            </a:extLst>
          </p:cNvPr>
          <p:cNvSpPr>
            <a:spLocks noGrp="1"/>
          </p:cNvSpPr>
          <p:nvPr>
            <p:ph type="sldNum" sz="quarter" idx="17"/>
          </p:nvPr>
        </p:nvSpPr>
        <p:spPr>
          <a:xfrm>
            <a:off x="8610600" y="6356350"/>
            <a:ext cx="2743200" cy="365125"/>
          </a:xfrm>
        </p:spPr>
        <p:txBody>
          <a:bodyPr/>
          <a:lstStyle/>
          <a:p>
            <a:fld id="{5EA792F7-1D9E-4C7E-A103-E8EDFDC2691E}" type="slidenum">
              <a:rPr lang="en-US" smtClean="0"/>
              <a:pPr/>
              <a:t>3</a:t>
            </a:fld>
            <a:endParaRPr lang="en-US" dirty="0"/>
          </a:p>
        </p:txBody>
      </p:sp>
      <p:sp>
        <p:nvSpPr>
          <p:cNvPr id="8" name="Rectangle 7">
            <a:extLst>
              <a:ext uri="{FF2B5EF4-FFF2-40B4-BE49-F238E27FC236}">
                <a16:creationId xmlns:a16="http://schemas.microsoft.com/office/drawing/2014/main" id="{9E93FD86-8B4B-453A-84AD-B2ED545E7E0B}"/>
              </a:ext>
            </a:extLst>
          </p:cNvPr>
          <p:cNvSpPr/>
          <p:nvPr/>
        </p:nvSpPr>
        <p:spPr>
          <a:xfrm>
            <a:off x="586029" y="2025908"/>
            <a:ext cx="6235890" cy="4832092"/>
          </a:xfrm>
          <a:prstGeom prst="rect">
            <a:avLst/>
          </a:prstGeom>
        </p:spPr>
        <p:txBody>
          <a:bodyPr wrap="square">
            <a:spAutoFit/>
          </a:bodyPr>
          <a:lstStyle/>
          <a:p>
            <a:r>
              <a:rPr lang="en-US" sz="2400" b="1"/>
              <a:t>CSDL âm nhạc </a:t>
            </a:r>
            <a:r>
              <a:rPr lang="vi-VN" sz="2400" b="1"/>
              <a:t>gồm có</a:t>
            </a:r>
            <a:r>
              <a:rPr lang="en-US" sz="2400" b="1"/>
              <a:t>:</a:t>
            </a:r>
          </a:p>
          <a:p>
            <a:r>
              <a:rPr lang="en-US" sz="2000">
                <a:solidFill>
                  <a:schemeClr val="tx1">
                    <a:lumMod val="75000"/>
                    <a:lumOff val="25000"/>
                  </a:schemeClr>
                </a:solidFill>
              </a:rPr>
              <a:t>- D</a:t>
            </a:r>
            <a:r>
              <a:rPr lang="vi-VN" sz="2000">
                <a:solidFill>
                  <a:schemeClr val="tx1">
                    <a:lumMod val="75000"/>
                    <a:lumOff val="25000"/>
                  </a:schemeClr>
                </a:solidFill>
              </a:rPr>
              <a:t>anh sách các tên nhạc sĩ với mã (định danh) là Aid</a:t>
            </a:r>
            <a:endParaRPr lang="en-US" sz="2000">
              <a:solidFill>
                <a:schemeClr val="tx1">
                  <a:lumMod val="75000"/>
                  <a:lumOff val="25000"/>
                </a:schemeClr>
              </a:solidFill>
            </a:endParaRPr>
          </a:p>
          <a:p>
            <a:r>
              <a:rPr lang="en-US" sz="2000">
                <a:solidFill>
                  <a:schemeClr val="tx1">
                    <a:lumMod val="75000"/>
                    <a:lumOff val="25000"/>
                  </a:schemeClr>
                </a:solidFill>
              </a:rPr>
              <a:t>- D</a:t>
            </a:r>
            <a:r>
              <a:rPr lang="vi-VN" sz="2000">
                <a:solidFill>
                  <a:schemeClr val="tx1">
                    <a:lumMod val="75000"/>
                    <a:lumOff val="25000"/>
                  </a:schemeClr>
                </a:solidFill>
              </a:rPr>
              <a:t>anh sách các tên ca sĩ với mã (định danh) là Sid</a:t>
            </a:r>
            <a:endParaRPr lang="en-US" sz="2000">
              <a:solidFill>
                <a:schemeClr val="tx1">
                  <a:lumMod val="75000"/>
                  <a:lumOff val="25000"/>
                </a:schemeClr>
              </a:solidFill>
            </a:endParaRPr>
          </a:p>
          <a:p>
            <a:r>
              <a:rPr lang="en-US" sz="2000">
                <a:solidFill>
                  <a:schemeClr val="tx1">
                    <a:lumMod val="75000"/>
                    <a:lumOff val="25000"/>
                  </a:schemeClr>
                </a:solidFill>
              </a:rPr>
              <a:t>- D</a:t>
            </a:r>
            <a:r>
              <a:rPr lang="vi-VN" sz="2000">
                <a:solidFill>
                  <a:schemeClr val="tx1">
                    <a:lumMod val="75000"/>
                    <a:lumOff val="25000"/>
                  </a:schemeClr>
                </a:solidFill>
              </a:rPr>
              <a:t>anh sách các bản nhạc với tên bản nhạc, mã nhạc sĩ (tác giả bản nhạc ) và mã Mid-định danh bản nhạc</a:t>
            </a:r>
            <a:endParaRPr lang="en-US" sz="2000">
              <a:solidFill>
                <a:schemeClr val="tx1">
                  <a:lumMod val="75000"/>
                  <a:lumOff val="25000"/>
                </a:schemeClr>
              </a:solidFill>
            </a:endParaRPr>
          </a:p>
          <a:p>
            <a:r>
              <a:rPr lang="en-US" sz="2000">
                <a:solidFill>
                  <a:schemeClr val="tx1">
                    <a:lumMod val="75000"/>
                    <a:lumOff val="25000"/>
                  </a:schemeClr>
                </a:solidFill>
              </a:rPr>
              <a:t>- D</a:t>
            </a:r>
            <a:r>
              <a:rPr lang="vi-VN" sz="2000">
                <a:solidFill>
                  <a:schemeClr val="tx1">
                    <a:lumMod val="75000"/>
                    <a:lumOff val="25000"/>
                  </a:schemeClr>
                </a:solidFill>
              </a:rPr>
              <a:t>anh sách các bản thu âm gồm có mã bản nhạc và mã ca sĩ.</a:t>
            </a:r>
            <a:endParaRPr lang="en-US" sz="2000">
              <a:solidFill>
                <a:schemeClr val="tx1">
                  <a:lumMod val="75000"/>
                  <a:lumOff val="25000"/>
                </a:schemeClr>
              </a:solidFill>
            </a:endParaRPr>
          </a:p>
          <a:p>
            <a:r>
              <a:rPr lang="vi-VN" sz="2400" b="1"/>
              <a:t>Hãy quan sát và trả lời các câu hỏi sau:</a:t>
            </a:r>
          </a:p>
          <a:p>
            <a:endParaRPr lang="vi-VN" sz="2000"/>
          </a:p>
          <a:p>
            <a:r>
              <a:rPr lang="vi-VN" sz="2000">
                <a:solidFill>
                  <a:srgbClr val="0070C0"/>
                </a:solidFill>
              </a:rPr>
              <a:t>1. Nhạc sĩ sáng tác bản nhạc "Trường ca sông Lô" là nhạc sĩ nào? Nhạc sĩ sáng tác bản nhạc "Xa khơi” là nhạc sĩ nào?</a:t>
            </a:r>
          </a:p>
          <a:p>
            <a:r>
              <a:rPr lang="vi-VN" sz="2000">
                <a:solidFill>
                  <a:schemeClr val="accent5">
                    <a:lumMod val="75000"/>
                  </a:schemeClr>
                </a:solidFill>
              </a:rPr>
              <a:t>2. Bản thu âm trong Hình 13.1d tương ứng với dòng 0005 TN là bản thu âm của bản nhạc nào, do ca sĩ nào thể hiện?</a:t>
            </a:r>
          </a:p>
        </p:txBody>
      </p:sp>
      <p:pic>
        <p:nvPicPr>
          <p:cNvPr id="12" name="Picture 11">
            <a:extLst>
              <a:ext uri="{FF2B5EF4-FFF2-40B4-BE49-F238E27FC236}">
                <a16:creationId xmlns:a16="http://schemas.microsoft.com/office/drawing/2014/main" id="{8B204005-97C5-4803-9791-93ED2B2164A9}"/>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Effect>
                      <a14:brightnessContrast contrast="40000"/>
                    </a14:imgEffect>
                  </a14:imgLayer>
                </a14:imgProps>
              </a:ext>
            </a:extLst>
          </a:blip>
          <a:stretch>
            <a:fillRect/>
          </a:stretch>
        </p:blipFill>
        <p:spPr>
          <a:xfrm>
            <a:off x="6996112" y="552450"/>
            <a:ext cx="4981575" cy="2876550"/>
          </a:xfrm>
          <a:prstGeom prst="rect">
            <a:avLst/>
          </a:prstGeom>
        </p:spPr>
      </p:pic>
      <p:pic>
        <p:nvPicPr>
          <p:cNvPr id="13" name="Picture 12">
            <a:extLst>
              <a:ext uri="{FF2B5EF4-FFF2-40B4-BE49-F238E27FC236}">
                <a16:creationId xmlns:a16="http://schemas.microsoft.com/office/drawing/2014/main" id="{FACE1C91-D878-407E-82D2-04349D625CEB}"/>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50000"/>
                    </a14:imgEffect>
                    <a14:imgEffect>
                      <a14:brightnessContrast contrast="40000"/>
                    </a14:imgEffect>
                  </a14:imgLayer>
                </a14:imgProps>
              </a:ext>
            </a:extLst>
          </a:blip>
          <a:stretch>
            <a:fillRect/>
          </a:stretch>
        </p:blipFill>
        <p:spPr>
          <a:xfrm>
            <a:off x="6781800" y="3332480"/>
            <a:ext cx="5410200" cy="3352800"/>
          </a:xfrm>
          <a:prstGeom prst="rect">
            <a:avLst/>
          </a:prstGeom>
        </p:spPr>
      </p:pic>
      <p:grpSp>
        <p:nvGrpSpPr>
          <p:cNvPr id="47" name="Confrontation" descr="{&quot;Key&quot;:&quot;POWER_USER_SHAPE_ICON&quot;,&quot;Value&quot;:&quot;POWER_USER_SHAPE_ICON_STYLE_1&quot;}">
            <a:extLst>
              <a:ext uri="{FF2B5EF4-FFF2-40B4-BE49-F238E27FC236}">
                <a16:creationId xmlns:a16="http://schemas.microsoft.com/office/drawing/2014/main" id="{D51E16EE-194D-413D-92C4-9BFA6CB53B42}"/>
              </a:ext>
            </a:extLst>
          </p:cNvPr>
          <p:cNvGrpSpPr>
            <a:grpSpLocks noChangeAspect="1"/>
          </p:cNvGrpSpPr>
          <p:nvPr>
            <p:custDataLst>
              <p:tags r:id="rId1"/>
            </p:custDataLst>
          </p:nvPr>
        </p:nvGrpSpPr>
        <p:grpSpPr>
          <a:xfrm>
            <a:off x="-6109" y="1235010"/>
            <a:ext cx="1043339" cy="981967"/>
            <a:chOff x="6764338" y="5940425"/>
            <a:chExt cx="782637" cy="736601"/>
          </a:xfrm>
          <a:noFill/>
        </p:grpSpPr>
        <p:sp>
          <p:nvSpPr>
            <p:cNvPr id="48" name="Freeform 31">
              <a:extLst>
                <a:ext uri="{FF2B5EF4-FFF2-40B4-BE49-F238E27FC236}">
                  <a16:creationId xmlns:a16="http://schemas.microsoft.com/office/drawing/2014/main" id="{8C117754-E097-467E-8CBF-4ADE9FE3E510}"/>
                </a:ext>
              </a:extLst>
            </p:cNvPr>
            <p:cNvSpPr>
              <a:spLocks/>
            </p:cNvSpPr>
            <p:nvPr/>
          </p:nvSpPr>
          <p:spPr bwMode="auto">
            <a:xfrm>
              <a:off x="6935788" y="6016625"/>
              <a:ext cx="95250" cy="112713"/>
            </a:xfrm>
            <a:custGeom>
              <a:avLst/>
              <a:gdLst>
                <a:gd name="T0" fmla="*/ 112 w 123"/>
                <a:gd name="T1" fmla="*/ 141 h 147"/>
                <a:gd name="T2" fmla="*/ 119 w 123"/>
                <a:gd name="T3" fmla="*/ 119 h 147"/>
                <a:gd name="T4" fmla="*/ 47 w 123"/>
                <a:gd name="T5" fmla="*/ 14 h 147"/>
                <a:gd name="T6" fmla="*/ 13 w 123"/>
                <a:gd name="T7" fmla="*/ 9 h 147"/>
                <a:gd name="T8" fmla="*/ 8 w 123"/>
                <a:gd name="T9" fmla="*/ 43 h 147"/>
                <a:gd name="T10" fmla="*/ 89 w 123"/>
                <a:gd name="T11" fmla="*/ 141 h 147"/>
                <a:gd name="T12" fmla="*/ 112 w 123"/>
                <a:gd name="T13" fmla="*/ 141 h 147"/>
              </a:gdLst>
              <a:ahLst/>
              <a:cxnLst>
                <a:cxn ang="0">
                  <a:pos x="T0" y="T1"/>
                </a:cxn>
                <a:cxn ang="0">
                  <a:pos x="T2" y="T3"/>
                </a:cxn>
                <a:cxn ang="0">
                  <a:pos x="T4" y="T5"/>
                </a:cxn>
                <a:cxn ang="0">
                  <a:pos x="T6" y="T7"/>
                </a:cxn>
                <a:cxn ang="0">
                  <a:pos x="T8" y="T9"/>
                </a:cxn>
                <a:cxn ang="0">
                  <a:pos x="T10" y="T11"/>
                </a:cxn>
                <a:cxn ang="0">
                  <a:pos x="T12" y="T13"/>
                </a:cxn>
              </a:cxnLst>
              <a:rect l="0" t="0" r="r" b="b"/>
              <a:pathLst>
                <a:path w="123" h="147">
                  <a:moveTo>
                    <a:pt x="112" y="141"/>
                  </a:moveTo>
                  <a:cubicBezTo>
                    <a:pt x="120" y="135"/>
                    <a:pt x="123" y="125"/>
                    <a:pt x="119" y="119"/>
                  </a:cubicBezTo>
                  <a:lnTo>
                    <a:pt x="47" y="14"/>
                  </a:lnTo>
                  <a:cubicBezTo>
                    <a:pt x="40" y="3"/>
                    <a:pt x="25" y="0"/>
                    <a:pt x="13" y="9"/>
                  </a:cubicBezTo>
                  <a:cubicBezTo>
                    <a:pt x="2" y="17"/>
                    <a:pt x="0" y="33"/>
                    <a:pt x="8" y="43"/>
                  </a:cubicBezTo>
                  <a:lnTo>
                    <a:pt x="89" y="141"/>
                  </a:lnTo>
                  <a:cubicBezTo>
                    <a:pt x="94" y="147"/>
                    <a:pt x="104" y="146"/>
                    <a:pt x="112" y="141"/>
                  </a:cubicBez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32">
              <a:extLst>
                <a:ext uri="{FF2B5EF4-FFF2-40B4-BE49-F238E27FC236}">
                  <a16:creationId xmlns:a16="http://schemas.microsoft.com/office/drawing/2014/main" id="{AF1CB6CE-5689-4A31-BD97-C83B5D7FD673}"/>
                </a:ext>
              </a:extLst>
            </p:cNvPr>
            <p:cNvSpPr>
              <a:spLocks/>
            </p:cNvSpPr>
            <p:nvPr/>
          </p:nvSpPr>
          <p:spPr bwMode="auto">
            <a:xfrm>
              <a:off x="7065963" y="5962650"/>
              <a:ext cx="46038" cy="127000"/>
            </a:xfrm>
            <a:custGeom>
              <a:avLst/>
              <a:gdLst>
                <a:gd name="T0" fmla="*/ 24 w 60"/>
                <a:gd name="T1" fmla="*/ 1 h 166"/>
                <a:gd name="T2" fmla="*/ 3 w 60"/>
                <a:gd name="T3" fmla="*/ 28 h 166"/>
                <a:gd name="T4" fmla="*/ 23 w 60"/>
                <a:gd name="T5" fmla="*/ 154 h 166"/>
                <a:gd name="T6" fmla="*/ 42 w 60"/>
                <a:gd name="T7" fmla="*/ 165 h 166"/>
                <a:gd name="T8" fmla="*/ 59 w 60"/>
                <a:gd name="T9" fmla="*/ 150 h 166"/>
                <a:gd name="T10" fmla="*/ 51 w 60"/>
                <a:gd name="T11" fmla="*/ 23 h 166"/>
                <a:gd name="T12" fmla="*/ 24 w 60"/>
                <a:gd name="T13" fmla="*/ 1 h 166"/>
              </a:gdLst>
              <a:ahLst/>
              <a:cxnLst>
                <a:cxn ang="0">
                  <a:pos x="T0" y="T1"/>
                </a:cxn>
                <a:cxn ang="0">
                  <a:pos x="T2" y="T3"/>
                </a:cxn>
                <a:cxn ang="0">
                  <a:pos x="T4" y="T5"/>
                </a:cxn>
                <a:cxn ang="0">
                  <a:pos x="T6" y="T7"/>
                </a:cxn>
                <a:cxn ang="0">
                  <a:pos x="T8" y="T9"/>
                </a:cxn>
                <a:cxn ang="0">
                  <a:pos x="T10" y="T11"/>
                </a:cxn>
                <a:cxn ang="0">
                  <a:pos x="T12" y="T13"/>
                </a:cxn>
              </a:cxnLst>
              <a:rect l="0" t="0" r="r" b="b"/>
              <a:pathLst>
                <a:path w="60" h="166">
                  <a:moveTo>
                    <a:pt x="24" y="1"/>
                  </a:moveTo>
                  <a:cubicBezTo>
                    <a:pt x="10" y="3"/>
                    <a:pt x="0" y="15"/>
                    <a:pt x="3" y="28"/>
                  </a:cubicBezTo>
                  <a:lnTo>
                    <a:pt x="23" y="154"/>
                  </a:lnTo>
                  <a:cubicBezTo>
                    <a:pt x="24" y="161"/>
                    <a:pt x="33" y="166"/>
                    <a:pt x="42" y="165"/>
                  </a:cubicBezTo>
                  <a:cubicBezTo>
                    <a:pt x="52" y="164"/>
                    <a:pt x="60" y="157"/>
                    <a:pt x="59" y="150"/>
                  </a:cubicBezTo>
                  <a:lnTo>
                    <a:pt x="51" y="23"/>
                  </a:lnTo>
                  <a:cubicBezTo>
                    <a:pt x="50" y="10"/>
                    <a:pt x="38" y="0"/>
                    <a:pt x="24" y="1"/>
                  </a:cubicBez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33">
              <a:extLst>
                <a:ext uri="{FF2B5EF4-FFF2-40B4-BE49-F238E27FC236}">
                  <a16:creationId xmlns:a16="http://schemas.microsoft.com/office/drawing/2014/main" id="{58090741-483B-42B5-ABA1-3397A04E5642}"/>
                </a:ext>
              </a:extLst>
            </p:cNvPr>
            <p:cNvSpPr>
              <a:spLocks/>
            </p:cNvSpPr>
            <p:nvPr/>
          </p:nvSpPr>
          <p:spPr bwMode="auto">
            <a:xfrm>
              <a:off x="6845300" y="6126163"/>
              <a:ext cx="123825" cy="69850"/>
            </a:xfrm>
            <a:custGeom>
              <a:avLst/>
              <a:gdLst>
                <a:gd name="T0" fmla="*/ 35 w 162"/>
                <a:gd name="T1" fmla="*/ 5 h 91"/>
                <a:gd name="T2" fmla="*/ 4 w 162"/>
                <a:gd name="T3" fmla="*/ 20 h 91"/>
                <a:gd name="T4" fmla="*/ 19 w 162"/>
                <a:gd name="T5" fmla="*/ 51 h 91"/>
                <a:gd name="T6" fmla="*/ 141 w 162"/>
                <a:gd name="T7" fmla="*/ 89 h 91"/>
                <a:gd name="T8" fmla="*/ 159 w 162"/>
                <a:gd name="T9" fmla="*/ 76 h 91"/>
                <a:gd name="T10" fmla="*/ 153 w 162"/>
                <a:gd name="T11" fmla="*/ 54 h 91"/>
                <a:gd name="T12" fmla="*/ 35 w 162"/>
                <a:gd name="T13" fmla="*/ 5 h 91"/>
              </a:gdLst>
              <a:ahLst/>
              <a:cxnLst>
                <a:cxn ang="0">
                  <a:pos x="T0" y="T1"/>
                </a:cxn>
                <a:cxn ang="0">
                  <a:pos x="T2" y="T3"/>
                </a:cxn>
                <a:cxn ang="0">
                  <a:pos x="T4" y="T5"/>
                </a:cxn>
                <a:cxn ang="0">
                  <a:pos x="T6" y="T7"/>
                </a:cxn>
                <a:cxn ang="0">
                  <a:pos x="T8" y="T9"/>
                </a:cxn>
                <a:cxn ang="0">
                  <a:pos x="T10" y="T11"/>
                </a:cxn>
                <a:cxn ang="0">
                  <a:pos x="T12" y="T13"/>
                </a:cxn>
              </a:cxnLst>
              <a:rect l="0" t="0" r="r" b="b"/>
              <a:pathLst>
                <a:path w="162" h="91">
                  <a:moveTo>
                    <a:pt x="35" y="5"/>
                  </a:moveTo>
                  <a:cubicBezTo>
                    <a:pt x="24" y="0"/>
                    <a:pt x="9" y="6"/>
                    <a:pt x="4" y="20"/>
                  </a:cubicBezTo>
                  <a:cubicBezTo>
                    <a:pt x="0" y="33"/>
                    <a:pt x="6" y="47"/>
                    <a:pt x="19" y="51"/>
                  </a:cubicBezTo>
                  <a:lnTo>
                    <a:pt x="141" y="89"/>
                  </a:lnTo>
                  <a:cubicBezTo>
                    <a:pt x="148" y="91"/>
                    <a:pt x="156" y="85"/>
                    <a:pt x="159" y="76"/>
                  </a:cubicBezTo>
                  <a:cubicBezTo>
                    <a:pt x="162" y="67"/>
                    <a:pt x="160" y="57"/>
                    <a:pt x="153" y="54"/>
                  </a:cubicBezTo>
                  <a:lnTo>
                    <a:pt x="35" y="5"/>
                  </a:lnTo>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34">
              <a:extLst>
                <a:ext uri="{FF2B5EF4-FFF2-40B4-BE49-F238E27FC236}">
                  <a16:creationId xmlns:a16="http://schemas.microsoft.com/office/drawing/2014/main" id="{B616B690-97D9-42B8-8622-693536F1FC50}"/>
                </a:ext>
              </a:extLst>
            </p:cNvPr>
            <p:cNvSpPr>
              <a:spLocks/>
            </p:cNvSpPr>
            <p:nvPr/>
          </p:nvSpPr>
          <p:spPr bwMode="auto">
            <a:xfrm>
              <a:off x="7281863" y="6475413"/>
              <a:ext cx="93663" cy="112713"/>
            </a:xfrm>
            <a:custGeom>
              <a:avLst/>
              <a:gdLst>
                <a:gd name="T0" fmla="*/ 34 w 123"/>
                <a:gd name="T1" fmla="*/ 5 h 147"/>
                <a:gd name="T2" fmla="*/ 12 w 123"/>
                <a:gd name="T3" fmla="*/ 6 h 147"/>
                <a:gd name="T4" fmla="*/ 4 w 123"/>
                <a:gd name="T5" fmla="*/ 28 h 147"/>
                <a:gd name="T6" fmla="*/ 76 w 123"/>
                <a:gd name="T7" fmla="*/ 133 h 147"/>
                <a:gd name="T8" fmla="*/ 110 w 123"/>
                <a:gd name="T9" fmla="*/ 138 h 147"/>
                <a:gd name="T10" fmla="*/ 115 w 123"/>
                <a:gd name="T11" fmla="*/ 104 h 147"/>
                <a:gd name="T12" fmla="*/ 34 w 123"/>
                <a:gd name="T13" fmla="*/ 5 h 147"/>
              </a:gdLst>
              <a:ahLst/>
              <a:cxnLst>
                <a:cxn ang="0">
                  <a:pos x="T0" y="T1"/>
                </a:cxn>
                <a:cxn ang="0">
                  <a:pos x="T2" y="T3"/>
                </a:cxn>
                <a:cxn ang="0">
                  <a:pos x="T4" y="T5"/>
                </a:cxn>
                <a:cxn ang="0">
                  <a:pos x="T6" y="T7"/>
                </a:cxn>
                <a:cxn ang="0">
                  <a:pos x="T8" y="T9"/>
                </a:cxn>
                <a:cxn ang="0">
                  <a:pos x="T10" y="T11"/>
                </a:cxn>
                <a:cxn ang="0">
                  <a:pos x="T12" y="T13"/>
                </a:cxn>
              </a:cxnLst>
              <a:rect l="0" t="0" r="r" b="b"/>
              <a:pathLst>
                <a:path w="123" h="147">
                  <a:moveTo>
                    <a:pt x="34" y="5"/>
                  </a:moveTo>
                  <a:cubicBezTo>
                    <a:pt x="29" y="0"/>
                    <a:pt x="19" y="1"/>
                    <a:pt x="12" y="6"/>
                  </a:cubicBezTo>
                  <a:cubicBezTo>
                    <a:pt x="4" y="12"/>
                    <a:pt x="0" y="22"/>
                    <a:pt x="4" y="28"/>
                  </a:cubicBezTo>
                  <a:lnTo>
                    <a:pt x="76" y="133"/>
                  </a:lnTo>
                  <a:cubicBezTo>
                    <a:pt x="83" y="144"/>
                    <a:pt x="99" y="147"/>
                    <a:pt x="110" y="138"/>
                  </a:cubicBezTo>
                  <a:cubicBezTo>
                    <a:pt x="121" y="130"/>
                    <a:pt x="123" y="114"/>
                    <a:pt x="115" y="104"/>
                  </a:cubicBezTo>
                  <a:lnTo>
                    <a:pt x="34" y="5"/>
                  </a:ln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35">
              <a:extLst>
                <a:ext uri="{FF2B5EF4-FFF2-40B4-BE49-F238E27FC236}">
                  <a16:creationId xmlns:a16="http://schemas.microsoft.com/office/drawing/2014/main" id="{2FCD2E4E-C971-4869-B4C5-D8B336E3887B}"/>
                </a:ext>
              </a:extLst>
            </p:cNvPr>
            <p:cNvSpPr>
              <a:spLocks/>
            </p:cNvSpPr>
            <p:nvPr/>
          </p:nvSpPr>
          <p:spPr bwMode="auto">
            <a:xfrm>
              <a:off x="7200900" y="6515100"/>
              <a:ext cx="44450" cy="127000"/>
            </a:xfrm>
            <a:custGeom>
              <a:avLst/>
              <a:gdLst>
                <a:gd name="T0" fmla="*/ 37 w 59"/>
                <a:gd name="T1" fmla="*/ 12 h 166"/>
                <a:gd name="T2" fmla="*/ 17 w 59"/>
                <a:gd name="T3" fmla="*/ 1 h 166"/>
                <a:gd name="T4" fmla="*/ 0 w 59"/>
                <a:gd name="T5" fmla="*/ 16 h 166"/>
                <a:gd name="T6" fmla="*/ 9 w 59"/>
                <a:gd name="T7" fmla="*/ 143 h 166"/>
                <a:gd name="T8" fmla="*/ 35 w 59"/>
                <a:gd name="T9" fmla="*/ 165 h 166"/>
                <a:gd name="T10" fmla="*/ 57 w 59"/>
                <a:gd name="T11" fmla="*/ 138 h 166"/>
                <a:gd name="T12" fmla="*/ 37 w 59"/>
                <a:gd name="T13" fmla="*/ 12 h 166"/>
              </a:gdLst>
              <a:ahLst/>
              <a:cxnLst>
                <a:cxn ang="0">
                  <a:pos x="T0" y="T1"/>
                </a:cxn>
                <a:cxn ang="0">
                  <a:pos x="T2" y="T3"/>
                </a:cxn>
                <a:cxn ang="0">
                  <a:pos x="T4" y="T5"/>
                </a:cxn>
                <a:cxn ang="0">
                  <a:pos x="T6" y="T7"/>
                </a:cxn>
                <a:cxn ang="0">
                  <a:pos x="T8" y="T9"/>
                </a:cxn>
                <a:cxn ang="0">
                  <a:pos x="T10" y="T11"/>
                </a:cxn>
                <a:cxn ang="0">
                  <a:pos x="T12" y="T13"/>
                </a:cxn>
              </a:cxnLst>
              <a:rect l="0" t="0" r="r" b="b"/>
              <a:pathLst>
                <a:path w="59" h="166">
                  <a:moveTo>
                    <a:pt x="37" y="12"/>
                  </a:moveTo>
                  <a:cubicBezTo>
                    <a:pt x="36" y="5"/>
                    <a:pt x="27" y="0"/>
                    <a:pt x="17" y="1"/>
                  </a:cubicBezTo>
                  <a:cubicBezTo>
                    <a:pt x="7" y="2"/>
                    <a:pt x="0" y="9"/>
                    <a:pt x="0" y="16"/>
                  </a:cubicBezTo>
                  <a:lnTo>
                    <a:pt x="9" y="143"/>
                  </a:lnTo>
                  <a:cubicBezTo>
                    <a:pt x="9" y="156"/>
                    <a:pt x="21" y="166"/>
                    <a:pt x="35" y="165"/>
                  </a:cubicBezTo>
                  <a:cubicBezTo>
                    <a:pt x="50" y="163"/>
                    <a:pt x="59" y="151"/>
                    <a:pt x="57" y="138"/>
                  </a:cubicBezTo>
                  <a:lnTo>
                    <a:pt x="37" y="12"/>
                  </a:ln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36">
              <a:extLst>
                <a:ext uri="{FF2B5EF4-FFF2-40B4-BE49-F238E27FC236}">
                  <a16:creationId xmlns:a16="http://schemas.microsoft.com/office/drawing/2014/main" id="{8AC798BD-E9B8-4C71-8689-A2D26602ED67}"/>
                </a:ext>
              </a:extLst>
            </p:cNvPr>
            <p:cNvSpPr>
              <a:spLocks/>
            </p:cNvSpPr>
            <p:nvPr/>
          </p:nvSpPr>
          <p:spPr bwMode="auto">
            <a:xfrm>
              <a:off x="7342188" y="6408738"/>
              <a:ext cx="125413" cy="69850"/>
            </a:xfrm>
            <a:custGeom>
              <a:avLst/>
              <a:gdLst>
                <a:gd name="T0" fmla="*/ 144 w 163"/>
                <a:gd name="T1" fmla="*/ 40 h 91"/>
                <a:gd name="T2" fmla="*/ 22 w 163"/>
                <a:gd name="T3" fmla="*/ 2 h 91"/>
                <a:gd name="T4" fmla="*/ 3 w 163"/>
                <a:gd name="T5" fmla="*/ 15 h 91"/>
                <a:gd name="T6" fmla="*/ 9 w 163"/>
                <a:gd name="T7" fmla="*/ 37 h 91"/>
                <a:gd name="T8" fmla="*/ 127 w 163"/>
                <a:gd name="T9" fmla="*/ 86 h 91"/>
                <a:gd name="T10" fmla="*/ 158 w 163"/>
                <a:gd name="T11" fmla="*/ 71 h 91"/>
                <a:gd name="T12" fmla="*/ 144 w 163"/>
                <a:gd name="T13" fmla="*/ 40 h 91"/>
              </a:gdLst>
              <a:ahLst/>
              <a:cxnLst>
                <a:cxn ang="0">
                  <a:pos x="T0" y="T1"/>
                </a:cxn>
                <a:cxn ang="0">
                  <a:pos x="T2" y="T3"/>
                </a:cxn>
                <a:cxn ang="0">
                  <a:pos x="T4" y="T5"/>
                </a:cxn>
                <a:cxn ang="0">
                  <a:pos x="T6" y="T7"/>
                </a:cxn>
                <a:cxn ang="0">
                  <a:pos x="T8" y="T9"/>
                </a:cxn>
                <a:cxn ang="0">
                  <a:pos x="T10" y="T11"/>
                </a:cxn>
                <a:cxn ang="0">
                  <a:pos x="T12" y="T13"/>
                </a:cxn>
              </a:cxnLst>
              <a:rect l="0" t="0" r="r" b="b"/>
              <a:pathLst>
                <a:path w="163" h="91">
                  <a:moveTo>
                    <a:pt x="144" y="40"/>
                  </a:moveTo>
                  <a:lnTo>
                    <a:pt x="22" y="2"/>
                  </a:lnTo>
                  <a:cubicBezTo>
                    <a:pt x="15" y="0"/>
                    <a:pt x="7" y="6"/>
                    <a:pt x="3" y="15"/>
                  </a:cubicBezTo>
                  <a:cubicBezTo>
                    <a:pt x="0" y="24"/>
                    <a:pt x="2" y="34"/>
                    <a:pt x="9" y="37"/>
                  </a:cubicBezTo>
                  <a:lnTo>
                    <a:pt x="127" y="86"/>
                  </a:lnTo>
                  <a:cubicBezTo>
                    <a:pt x="139" y="91"/>
                    <a:pt x="153" y="85"/>
                    <a:pt x="158" y="71"/>
                  </a:cubicBezTo>
                  <a:cubicBezTo>
                    <a:pt x="163" y="58"/>
                    <a:pt x="156" y="44"/>
                    <a:pt x="144" y="40"/>
                  </a:cubicBezTo>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37">
              <a:extLst>
                <a:ext uri="{FF2B5EF4-FFF2-40B4-BE49-F238E27FC236}">
                  <a16:creationId xmlns:a16="http://schemas.microsoft.com/office/drawing/2014/main" id="{E5485143-B17A-4EB6-8BEE-8FA09190F408}"/>
                </a:ext>
              </a:extLst>
            </p:cNvPr>
            <p:cNvSpPr>
              <a:spLocks/>
            </p:cNvSpPr>
            <p:nvPr/>
          </p:nvSpPr>
          <p:spPr bwMode="auto">
            <a:xfrm>
              <a:off x="6764338" y="6221413"/>
              <a:ext cx="433388" cy="455613"/>
            </a:xfrm>
            <a:custGeom>
              <a:avLst/>
              <a:gdLst>
                <a:gd name="T0" fmla="*/ 502 w 568"/>
                <a:gd name="T1" fmla="*/ 285 h 598"/>
                <a:gd name="T2" fmla="*/ 519 w 568"/>
                <a:gd name="T3" fmla="*/ 267 h 598"/>
                <a:gd name="T4" fmla="*/ 519 w 568"/>
                <a:gd name="T5" fmla="*/ 192 h 598"/>
                <a:gd name="T6" fmla="*/ 455 w 568"/>
                <a:gd name="T7" fmla="*/ 184 h 598"/>
                <a:gd name="T8" fmla="*/ 463 w 568"/>
                <a:gd name="T9" fmla="*/ 100 h 598"/>
                <a:gd name="T10" fmla="*/ 393 w 568"/>
                <a:gd name="T11" fmla="*/ 95 h 598"/>
                <a:gd name="T12" fmla="*/ 392 w 568"/>
                <a:gd name="T13" fmla="*/ 21 h 598"/>
                <a:gd name="T14" fmla="*/ 317 w 568"/>
                <a:gd name="T15" fmla="*/ 21 h 598"/>
                <a:gd name="T16" fmla="*/ 205 w 568"/>
                <a:gd name="T17" fmla="*/ 132 h 598"/>
                <a:gd name="T18" fmla="*/ 205 w 568"/>
                <a:gd name="T19" fmla="*/ 69 h 598"/>
                <a:gd name="T20" fmla="*/ 236 w 568"/>
                <a:gd name="T21" fmla="*/ 38 h 598"/>
                <a:gd name="T22" fmla="*/ 112 w 568"/>
                <a:gd name="T23" fmla="*/ 93 h 598"/>
                <a:gd name="T24" fmla="*/ 79 w 568"/>
                <a:gd name="T25" fmla="*/ 311 h 598"/>
                <a:gd name="T26" fmla="*/ 0 w 568"/>
                <a:gd name="T27" fmla="*/ 390 h 598"/>
                <a:gd name="T28" fmla="*/ 209 w 568"/>
                <a:gd name="T29" fmla="*/ 598 h 598"/>
                <a:gd name="T30" fmla="*/ 279 w 568"/>
                <a:gd name="T31" fmla="*/ 528 h 598"/>
                <a:gd name="T32" fmla="*/ 434 w 568"/>
                <a:gd name="T33" fmla="*/ 486 h 598"/>
                <a:gd name="T34" fmla="*/ 548 w 568"/>
                <a:gd name="T35" fmla="*/ 372 h 598"/>
                <a:gd name="T36" fmla="*/ 548 w 568"/>
                <a:gd name="T37" fmla="*/ 299 h 598"/>
                <a:gd name="T38" fmla="*/ 502 w 568"/>
                <a:gd name="T39" fmla="*/ 285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8" h="598">
                  <a:moveTo>
                    <a:pt x="502" y="285"/>
                  </a:moveTo>
                  <a:lnTo>
                    <a:pt x="519" y="267"/>
                  </a:lnTo>
                  <a:cubicBezTo>
                    <a:pt x="539" y="247"/>
                    <a:pt x="539" y="213"/>
                    <a:pt x="519" y="192"/>
                  </a:cubicBezTo>
                  <a:cubicBezTo>
                    <a:pt x="501" y="175"/>
                    <a:pt x="475" y="172"/>
                    <a:pt x="455" y="184"/>
                  </a:cubicBezTo>
                  <a:cubicBezTo>
                    <a:pt x="480" y="158"/>
                    <a:pt x="488" y="125"/>
                    <a:pt x="463" y="100"/>
                  </a:cubicBezTo>
                  <a:cubicBezTo>
                    <a:pt x="444" y="80"/>
                    <a:pt x="414" y="79"/>
                    <a:pt x="393" y="95"/>
                  </a:cubicBezTo>
                  <a:cubicBezTo>
                    <a:pt x="413" y="75"/>
                    <a:pt x="413" y="41"/>
                    <a:pt x="392" y="21"/>
                  </a:cubicBezTo>
                  <a:cubicBezTo>
                    <a:pt x="371" y="0"/>
                    <a:pt x="338" y="0"/>
                    <a:pt x="317" y="21"/>
                  </a:cubicBezTo>
                  <a:lnTo>
                    <a:pt x="205" y="132"/>
                  </a:lnTo>
                  <a:cubicBezTo>
                    <a:pt x="188" y="115"/>
                    <a:pt x="188" y="86"/>
                    <a:pt x="205" y="69"/>
                  </a:cubicBezTo>
                  <a:lnTo>
                    <a:pt x="236" y="38"/>
                  </a:lnTo>
                  <a:cubicBezTo>
                    <a:pt x="182" y="42"/>
                    <a:pt x="125" y="68"/>
                    <a:pt x="112" y="93"/>
                  </a:cubicBezTo>
                  <a:cubicBezTo>
                    <a:pt x="93" y="129"/>
                    <a:pt x="79" y="253"/>
                    <a:pt x="79" y="311"/>
                  </a:cubicBezTo>
                  <a:lnTo>
                    <a:pt x="0" y="390"/>
                  </a:lnTo>
                  <a:lnTo>
                    <a:pt x="209" y="598"/>
                  </a:lnTo>
                  <a:lnTo>
                    <a:pt x="279" y="528"/>
                  </a:lnTo>
                  <a:cubicBezTo>
                    <a:pt x="335" y="545"/>
                    <a:pt x="398" y="522"/>
                    <a:pt x="434" y="486"/>
                  </a:cubicBezTo>
                  <a:lnTo>
                    <a:pt x="548" y="372"/>
                  </a:lnTo>
                  <a:cubicBezTo>
                    <a:pt x="568" y="352"/>
                    <a:pt x="568" y="319"/>
                    <a:pt x="548" y="299"/>
                  </a:cubicBezTo>
                  <a:cubicBezTo>
                    <a:pt x="535" y="286"/>
                    <a:pt x="518" y="282"/>
                    <a:pt x="502" y="285"/>
                  </a:cubicBez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38">
              <a:extLst>
                <a:ext uri="{FF2B5EF4-FFF2-40B4-BE49-F238E27FC236}">
                  <a16:creationId xmlns:a16="http://schemas.microsoft.com/office/drawing/2014/main" id="{15EF79B6-4B1D-4754-89D2-CFAEAEF10903}"/>
                </a:ext>
              </a:extLst>
            </p:cNvPr>
            <p:cNvSpPr>
              <a:spLocks/>
            </p:cNvSpPr>
            <p:nvPr/>
          </p:nvSpPr>
          <p:spPr bwMode="auto">
            <a:xfrm>
              <a:off x="7115175" y="5940425"/>
              <a:ext cx="431800" cy="455613"/>
            </a:xfrm>
            <a:custGeom>
              <a:avLst/>
              <a:gdLst>
                <a:gd name="T0" fmla="*/ 289 w 568"/>
                <a:gd name="T1" fmla="*/ 70 h 598"/>
                <a:gd name="T2" fmla="*/ 134 w 568"/>
                <a:gd name="T3" fmla="*/ 112 h 598"/>
                <a:gd name="T4" fmla="*/ 21 w 568"/>
                <a:gd name="T5" fmla="*/ 226 h 598"/>
                <a:gd name="T6" fmla="*/ 21 w 568"/>
                <a:gd name="T7" fmla="*/ 299 h 598"/>
                <a:gd name="T8" fmla="*/ 67 w 568"/>
                <a:gd name="T9" fmla="*/ 313 h 598"/>
                <a:gd name="T10" fmla="*/ 50 w 568"/>
                <a:gd name="T11" fmla="*/ 331 h 598"/>
                <a:gd name="T12" fmla="*/ 50 w 568"/>
                <a:gd name="T13" fmla="*/ 406 h 598"/>
                <a:gd name="T14" fmla="*/ 114 w 568"/>
                <a:gd name="T15" fmla="*/ 414 h 598"/>
                <a:gd name="T16" fmla="*/ 105 w 568"/>
                <a:gd name="T17" fmla="*/ 498 h 598"/>
                <a:gd name="T18" fmla="*/ 175 w 568"/>
                <a:gd name="T19" fmla="*/ 503 h 598"/>
                <a:gd name="T20" fmla="*/ 176 w 568"/>
                <a:gd name="T21" fmla="*/ 577 h 598"/>
                <a:gd name="T22" fmla="*/ 252 w 568"/>
                <a:gd name="T23" fmla="*/ 577 h 598"/>
                <a:gd name="T24" fmla="*/ 363 w 568"/>
                <a:gd name="T25" fmla="*/ 465 h 598"/>
                <a:gd name="T26" fmla="*/ 363 w 568"/>
                <a:gd name="T27" fmla="*/ 529 h 598"/>
                <a:gd name="T28" fmla="*/ 332 w 568"/>
                <a:gd name="T29" fmla="*/ 560 h 598"/>
                <a:gd name="T30" fmla="*/ 456 w 568"/>
                <a:gd name="T31" fmla="*/ 505 h 598"/>
                <a:gd name="T32" fmla="*/ 490 w 568"/>
                <a:gd name="T33" fmla="*/ 286 h 598"/>
                <a:gd name="T34" fmla="*/ 568 w 568"/>
                <a:gd name="T35" fmla="*/ 208 h 598"/>
                <a:gd name="T36" fmla="*/ 359 w 568"/>
                <a:gd name="T37" fmla="*/ 0 h 598"/>
                <a:gd name="T38" fmla="*/ 289 w 568"/>
                <a:gd name="T39" fmla="*/ 7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8" h="598">
                  <a:moveTo>
                    <a:pt x="289" y="70"/>
                  </a:moveTo>
                  <a:cubicBezTo>
                    <a:pt x="233" y="53"/>
                    <a:pt x="171" y="76"/>
                    <a:pt x="134" y="112"/>
                  </a:cubicBezTo>
                  <a:lnTo>
                    <a:pt x="21" y="226"/>
                  </a:lnTo>
                  <a:cubicBezTo>
                    <a:pt x="0" y="246"/>
                    <a:pt x="0" y="279"/>
                    <a:pt x="21" y="299"/>
                  </a:cubicBezTo>
                  <a:cubicBezTo>
                    <a:pt x="33" y="312"/>
                    <a:pt x="50" y="316"/>
                    <a:pt x="67" y="313"/>
                  </a:cubicBezTo>
                  <a:lnTo>
                    <a:pt x="50" y="331"/>
                  </a:lnTo>
                  <a:cubicBezTo>
                    <a:pt x="29" y="351"/>
                    <a:pt x="29" y="385"/>
                    <a:pt x="50" y="406"/>
                  </a:cubicBezTo>
                  <a:cubicBezTo>
                    <a:pt x="67" y="423"/>
                    <a:pt x="93" y="426"/>
                    <a:pt x="114" y="414"/>
                  </a:cubicBezTo>
                  <a:cubicBezTo>
                    <a:pt x="88" y="440"/>
                    <a:pt x="80" y="473"/>
                    <a:pt x="105" y="498"/>
                  </a:cubicBezTo>
                  <a:cubicBezTo>
                    <a:pt x="124" y="518"/>
                    <a:pt x="154" y="519"/>
                    <a:pt x="175" y="503"/>
                  </a:cubicBezTo>
                  <a:cubicBezTo>
                    <a:pt x="155" y="523"/>
                    <a:pt x="156" y="556"/>
                    <a:pt x="176" y="577"/>
                  </a:cubicBezTo>
                  <a:cubicBezTo>
                    <a:pt x="197" y="598"/>
                    <a:pt x="230" y="598"/>
                    <a:pt x="252" y="577"/>
                  </a:cubicBezTo>
                  <a:lnTo>
                    <a:pt x="363" y="465"/>
                  </a:lnTo>
                  <a:cubicBezTo>
                    <a:pt x="381" y="483"/>
                    <a:pt x="381" y="512"/>
                    <a:pt x="363" y="529"/>
                  </a:cubicBezTo>
                  <a:lnTo>
                    <a:pt x="332" y="560"/>
                  </a:lnTo>
                  <a:cubicBezTo>
                    <a:pt x="387" y="556"/>
                    <a:pt x="443" y="530"/>
                    <a:pt x="456" y="505"/>
                  </a:cubicBezTo>
                  <a:cubicBezTo>
                    <a:pt x="475" y="469"/>
                    <a:pt x="489" y="345"/>
                    <a:pt x="490" y="286"/>
                  </a:cubicBezTo>
                  <a:lnTo>
                    <a:pt x="568" y="208"/>
                  </a:lnTo>
                  <a:lnTo>
                    <a:pt x="359" y="0"/>
                  </a:lnTo>
                  <a:lnTo>
                    <a:pt x="289" y="70"/>
                  </a:ln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7080874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173FA2-CF48-4420-93C8-CE819FBDE40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Effect>
                      <a14:brightnessContrast contrast="40000"/>
                    </a14:imgEffect>
                  </a14:imgLayer>
                </a14:imgProps>
              </a:ext>
            </a:extLst>
          </a:blip>
          <a:stretch>
            <a:fillRect/>
          </a:stretch>
        </p:blipFill>
        <p:spPr>
          <a:xfrm>
            <a:off x="876300" y="2899227"/>
            <a:ext cx="10439400" cy="3952875"/>
          </a:xfrm>
          <a:prstGeom prst="rect">
            <a:avLst/>
          </a:prstGeom>
        </p:spPr>
      </p:pic>
      <p:sp>
        <p:nvSpPr>
          <p:cNvPr id="4" name="Rectangle 3">
            <a:extLst>
              <a:ext uri="{FF2B5EF4-FFF2-40B4-BE49-F238E27FC236}">
                <a16:creationId xmlns:a16="http://schemas.microsoft.com/office/drawing/2014/main" id="{DD83259F-EAE7-4FE6-9EBD-C96E3F80DC06}"/>
              </a:ext>
            </a:extLst>
          </p:cNvPr>
          <p:cNvSpPr/>
          <p:nvPr/>
        </p:nvSpPr>
        <p:spPr>
          <a:xfrm>
            <a:off x="3552965" y="189224"/>
            <a:ext cx="5686569" cy="2462213"/>
          </a:xfrm>
          <a:custGeom>
            <a:avLst/>
            <a:gdLst>
              <a:gd name="connsiteX0" fmla="*/ 0 w 5686569"/>
              <a:gd name="connsiteY0" fmla="*/ 0 h 2462213"/>
              <a:gd name="connsiteX1" fmla="*/ 5686569 w 5686569"/>
              <a:gd name="connsiteY1" fmla="*/ 0 h 2462213"/>
              <a:gd name="connsiteX2" fmla="*/ 5686569 w 5686569"/>
              <a:gd name="connsiteY2" fmla="*/ 2462213 h 2462213"/>
              <a:gd name="connsiteX3" fmla="*/ 0 w 5686569"/>
              <a:gd name="connsiteY3" fmla="*/ 2462213 h 2462213"/>
              <a:gd name="connsiteX4" fmla="*/ 0 w 5686569"/>
              <a:gd name="connsiteY4" fmla="*/ 0 h 2462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6569" h="2462213" fill="none" extrusionOk="0">
                <a:moveTo>
                  <a:pt x="0" y="0"/>
                </a:moveTo>
                <a:cubicBezTo>
                  <a:pt x="2559125" y="86492"/>
                  <a:pt x="3886238" y="-117637"/>
                  <a:pt x="5686569" y="0"/>
                </a:cubicBezTo>
                <a:cubicBezTo>
                  <a:pt x="5658546" y="380539"/>
                  <a:pt x="5809999" y="1300745"/>
                  <a:pt x="5686569" y="2462213"/>
                </a:cubicBezTo>
                <a:cubicBezTo>
                  <a:pt x="3342662" y="2488122"/>
                  <a:pt x="2746365" y="2394331"/>
                  <a:pt x="0" y="2462213"/>
                </a:cubicBezTo>
                <a:cubicBezTo>
                  <a:pt x="117407" y="2041845"/>
                  <a:pt x="78871" y="669191"/>
                  <a:pt x="0" y="0"/>
                </a:cubicBezTo>
                <a:close/>
              </a:path>
              <a:path w="5686569" h="2462213" stroke="0" extrusionOk="0">
                <a:moveTo>
                  <a:pt x="0" y="0"/>
                </a:moveTo>
                <a:cubicBezTo>
                  <a:pt x="1024394" y="-94642"/>
                  <a:pt x="4126256" y="-17644"/>
                  <a:pt x="5686569" y="0"/>
                </a:cubicBezTo>
                <a:cubicBezTo>
                  <a:pt x="5855545" y="284342"/>
                  <a:pt x="5697256" y="2161643"/>
                  <a:pt x="5686569" y="2462213"/>
                </a:cubicBezTo>
                <a:cubicBezTo>
                  <a:pt x="3582221" y="2604196"/>
                  <a:pt x="2348221" y="2321584"/>
                  <a:pt x="0" y="2462213"/>
                </a:cubicBezTo>
                <a:cubicBezTo>
                  <a:pt x="-5653" y="1518688"/>
                  <a:pt x="-104214" y="1012946"/>
                  <a:pt x="0" y="0"/>
                </a:cubicBezTo>
                <a:close/>
              </a:path>
            </a:pathLst>
          </a:custGeom>
          <a:solidFill>
            <a:schemeClr val="accent5">
              <a:lumMod val="20000"/>
              <a:lumOff val="80000"/>
            </a:schemeClr>
          </a:solidFill>
          <a:ln>
            <a:solidFill>
              <a:schemeClr val="tx1"/>
            </a:solidFill>
            <a:extLst>
              <a:ext uri="{C807C97D-BFC1-408E-A445-0C87EB9F89A2}">
                <ask:lineSketchStyleProps xmlns:ask="http://schemas.microsoft.com/office/drawing/2018/sketchyshapes" sd="1217046285">
                  <a:prstGeom prst="rect">
                    <a:avLst/>
                  </a:prstGeom>
                  <ask:type>
                    <ask:lineSketchCurved/>
                  </ask:type>
                </ask:lineSketchStyleProps>
              </a:ext>
            </a:extLst>
          </a:ln>
        </p:spPr>
        <p:txBody>
          <a:bodyPr wrap="square">
            <a:spAutoFit/>
          </a:bodyPr>
          <a:lstStyle/>
          <a:p>
            <a:r>
              <a:rPr lang="vi-VN" sz="2200">
                <a:solidFill>
                  <a:schemeClr val="tx1">
                    <a:lumMod val="85000"/>
                    <a:lumOff val="15000"/>
                  </a:schemeClr>
                </a:solidFill>
              </a:rPr>
              <a:t>1. Nhạc sĩ sáng tác bản nhạc "Trường ca sông Lô" là </a:t>
            </a:r>
            <a:r>
              <a:rPr lang="en-US" sz="2200">
                <a:solidFill>
                  <a:schemeClr val="tx1">
                    <a:lumMod val="85000"/>
                    <a:lumOff val="15000"/>
                  </a:schemeClr>
                </a:solidFill>
              </a:rPr>
              <a:t>nhạc sĩ </a:t>
            </a:r>
            <a:r>
              <a:rPr lang="vi-VN" sz="2200">
                <a:solidFill>
                  <a:schemeClr val="accent5">
                    <a:lumMod val="75000"/>
                  </a:schemeClr>
                </a:solidFill>
              </a:rPr>
              <a:t>Văn Cao</a:t>
            </a:r>
          </a:p>
          <a:p>
            <a:r>
              <a:rPr lang="vi-VN" sz="2200">
                <a:solidFill>
                  <a:schemeClr val="tx1">
                    <a:lumMod val="85000"/>
                    <a:lumOff val="15000"/>
                  </a:schemeClr>
                </a:solidFill>
              </a:rPr>
              <a:t>Nhạc sĩ sáng tác bản nhạc "Xa khơi" là nhạc sĩ </a:t>
            </a:r>
            <a:r>
              <a:rPr lang="vi-VN" sz="2200">
                <a:solidFill>
                  <a:schemeClr val="accent5">
                    <a:lumMod val="75000"/>
                  </a:schemeClr>
                </a:solidFill>
              </a:rPr>
              <a:t>Nguyễn Tài Tuệ</a:t>
            </a:r>
          </a:p>
          <a:p>
            <a:r>
              <a:rPr lang="vi-VN" sz="2200">
                <a:solidFill>
                  <a:schemeClr val="tx1">
                    <a:lumMod val="85000"/>
                    <a:lumOff val="15000"/>
                  </a:schemeClr>
                </a:solidFill>
              </a:rPr>
              <a:t>2. Bản thu âm tương ứng với dòng 0005 TN là bản thu âm của bản nhạc </a:t>
            </a:r>
            <a:r>
              <a:rPr lang="en-US" sz="2200">
                <a:solidFill>
                  <a:schemeClr val="accent5">
                    <a:lumMod val="75000"/>
                  </a:schemeClr>
                </a:solidFill>
              </a:rPr>
              <a:t>“Việt Nam quê h</a:t>
            </a:r>
            <a:r>
              <a:rPr lang="vi-VN" sz="2200">
                <a:solidFill>
                  <a:schemeClr val="accent5">
                    <a:lumMod val="75000"/>
                  </a:schemeClr>
                </a:solidFill>
              </a:rPr>
              <a:t>ư</a:t>
            </a:r>
            <a:r>
              <a:rPr lang="en-US" sz="2200">
                <a:solidFill>
                  <a:schemeClr val="accent5">
                    <a:lumMod val="75000"/>
                  </a:schemeClr>
                </a:solidFill>
              </a:rPr>
              <a:t>ơng tôi”</a:t>
            </a:r>
            <a:r>
              <a:rPr lang="vi-VN" sz="2200">
                <a:solidFill>
                  <a:schemeClr val="accent5">
                    <a:lumMod val="75000"/>
                  </a:schemeClr>
                </a:solidFill>
              </a:rPr>
              <a:t>, </a:t>
            </a:r>
            <a:r>
              <a:rPr lang="vi-VN" sz="2200">
                <a:solidFill>
                  <a:schemeClr val="tx1">
                    <a:lumMod val="85000"/>
                    <a:lumOff val="15000"/>
                  </a:schemeClr>
                </a:solidFill>
              </a:rPr>
              <a:t>do ca sĩ </a:t>
            </a:r>
            <a:r>
              <a:rPr lang="en-US" sz="2200">
                <a:solidFill>
                  <a:schemeClr val="accent5">
                    <a:lumMod val="75000"/>
                  </a:schemeClr>
                </a:solidFill>
              </a:rPr>
              <a:t>Tân Nhân</a:t>
            </a:r>
            <a:r>
              <a:rPr lang="vi-VN" sz="2200">
                <a:solidFill>
                  <a:schemeClr val="accent5">
                    <a:lumMod val="75000"/>
                  </a:schemeClr>
                </a:solidFill>
              </a:rPr>
              <a:t> </a:t>
            </a:r>
            <a:r>
              <a:rPr lang="vi-VN" sz="2200">
                <a:solidFill>
                  <a:schemeClr val="tx1">
                    <a:lumMod val="85000"/>
                    <a:lumOff val="15000"/>
                  </a:schemeClr>
                </a:solidFill>
              </a:rPr>
              <a:t>thể hiện</a:t>
            </a:r>
          </a:p>
        </p:txBody>
      </p:sp>
    </p:spTree>
    <p:extLst>
      <p:ext uri="{BB962C8B-B14F-4D97-AF65-F5344CB8AC3E}">
        <p14:creationId xmlns:p14="http://schemas.microsoft.com/office/powerpoint/2010/main" val="2952552523"/>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33E469B-4F65-44B3-B42A-78384577523C}"/>
              </a:ext>
            </a:extLst>
          </p:cNvPr>
          <p:cNvSpPr txBox="1"/>
          <p:nvPr/>
        </p:nvSpPr>
        <p:spPr>
          <a:xfrm>
            <a:off x="978250" y="1615006"/>
            <a:ext cx="4194251" cy="1200329"/>
          </a:xfrm>
          <a:custGeom>
            <a:avLst/>
            <a:gdLst>
              <a:gd name="connsiteX0" fmla="*/ 0 w 4194251"/>
              <a:gd name="connsiteY0" fmla="*/ 0 h 1200329"/>
              <a:gd name="connsiteX1" fmla="*/ 4194251 w 4194251"/>
              <a:gd name="connsiteY1" fmla="*/ 0 h 1200329"/>
              <a:gd name="connsiteX2" fmla="*/ 4194251 w 4194251"/>
              <a:gd name="connsiteY2" fmla="*/ 1200329 h 1200329"/>
              <a:gd name="connsiteX3" fmla="*/ 0 w 4194251"/>
              <a:gd name="connsiteY3" fmla="*/ 1200329 h 1200329"/>
              <a:gd name="connsiteX4" fmla="*/ 0 w 4194251"/>
              <a:gd name="connsiteY4" fmla="*/ 0 h 1200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4251" h="1200329" fill="none" extrusionOk="0">
                <a:moveTo>
                  <a:pt x="0" y="0"/>
                </a:moveTo>
                <a:cubicBezTo>
                  <a:pt x="1466082" y="62944"/>
                  <a:pt x="2109869" y="-143488"/>
                  <a:pt x="4194251" y="0"/>
                </a:cubicBezTo>
                <a:cubicBezTo>
                  <a:pt x="4143969" y="397692"/>
                  <a:pt x="4204264" y="880727"/>
                  <a:pt x="4194251" y="1200329"/>
                </a:cubicBezTo>
                <a:cubicBezTo>
                  <a:pt x="2812914" y="1335847"/>
                  <a:pt x="1534721" y="1290224"/>
                  <a:pt x="0" y="1200329"/>
                </a:cubicBezTo>
                <a:cubicBezTo>
                  <a:pt x="105131" y="710805"/>
                  <a:pt x="87262" y="150547"/>
                  <a:pt x="0" y="0"/>
                </a:cubicBezTo>
                <a:close/>
              </a:path>
              <a:path w="4194251" h="1200329" stroke="0" extrusionOk="0">
                <a:moveTo>
                  <a:pt x="0" y="0"/>
                </a:moveTo>
                <a:cubicBezTo>
                  <a:pt x="1729871" y="-9158"/>
                  <a:pt x="2630131" y="121975"/>
                  <a:pt x="4194251" y="0"/>
                </a:cubicBezTo>
                <a:cubicBezTo>
                  <a:pt x="4091015" y="272333"/>
                  <a:pt x="4268862" y="807055"/>
                  <a:pt x="4194251" y="1200329"/>
                </a:cubicBezTo>
                <a:cubicBezTo>
                  <a:pt x="2897020" y="1153445"/>
                  <a:pt x="1284892" y="1290189"/>
                  <a:pt x="0" y="1200329"/>
                </a:cubicBezTo>
                <a:cubicBezTo>
                  <a:pt x="53871" y="986482"/>
                  <a:pt x="2334" y="129117"/>
                  <a:pt x="0" y="0"/>
                </a:cubicBezTo>
                <a:close/>
              </a:path>
            </a:pathLst>
          </a:custGeom>
          <a:solidFill>
            <a:schemeClr val="accent5">
              <a:lumMod val="20000"/>
              <a:lumOff val="80000"/>
            </a:schemeClr>
          </a:solidFill>
          <a:ln>
            <a:solidFill>
              <a:schemeClr val="tx1"/>
            </a:solidFill>
            <a:extLst>
              <a:ext uri="{C807C97D-BFC1-408E-A445-0C87EB9F89A2}">
                <ask:lineSketchStyleProps xmlns:ask="http://schemas.microsoft.com/office/drawing/2018/sketchyshapes" sd="3349440333">
                  <a:prstGeom prst="rect">
                    <a:avLst/>
                  </a:prstGeom>
                  <ask:type>
                    <ask:lineSketchCurved/>
                  </ask:type>
                </ask:lineSketchStyleProps>
              </a:ext>
            </a:extLst>
          </a:ln>
        </p:spPr>
        <p:txBody>
          <a:bodyPr wrap="square" rtlCol="0">
            <a:spAutoFit/>
          </a:bodyPr>
          <a:lstStyle/>
          <a:p>
            <a:r>
              <a:rPr lang="en-US" sz="2400">
                <a:solidFill>
                  <a:schemeClr val="tx1">
                    <a:lumMod val="75000"/>
                    <a:lumOff val="25000"/>
                  </a:schemeClr>
                </a:solidFill>
              </a:rPr>
              <a:t>CSDL quan hệ là CSDL l</a:t>
            </a:r>
            <a:r>
              <a:rPr lang="vi-VN" sz="2400">
                <a:solidFill>
                  <a:schemeClr val="tx1">
                    <a:lumMod val="75000"/>
                    <a:lumOff val="25000"/>
                  </a:schemeClr>
                </a:solidFill>
              </a:rPr>
              <a:t>ư</a:t>
            </a:r>
            <a:r>
              <a:rPr lang="en-US" sz="2400">
                <a:solidFill>
                  <a:schemeClr val="tx1">
                    <a:lumMod val="75000"/>
                    <a:lumOff val="25000"/>
                  </a:schemeClr>
                </a:solidFill>
              </a:rPr>
              <a:t>u trữ dữ liệu d</a:t>
            </a:r>
            <a:r>
              <a:rPr lang="vi-VN" sz="2400">
                <a:solidFill>
                  <a:schemeClr val="tx1">
                    <a:lumMod val="75000"/>
                    <a:lumOff val="25000"/>
                  </a:schemeClr>
                </a:solidFill>
              </a:rPr>
              <a:t>ư</a:t>
            </a:r>
            <a:r>
              <a:rPr lang="en-US" sz="2400">
                <a:solidFill>
                  <a:schemeClr val="tx1">
                    <a:lumMod val="75000"/>
                    <a:lumOff val="25000"/>
                  </a:schemeClr>
                </a:solidFill>
              </a:rPr>
              <a:t>ới dạng các bảng có quan hệ với nhau</a:t>
            </a:r>
            <a:endParaRPr lang="vi-VN" sz="2400">
              <a:solidFill>
                <a:schemeClr val="tx1">
                  <a:lumMod val="75000"/>
                  <a:lumOff val="25000"/>
                </a:schemeClr>
              </a:solidFill>
            </a:endParaRPr>
          </a:p>
        </p:txBody>
      </p:sp>
      <p:sp>
        <p:nvSpPr>
          <p:cNvPr id="6" name="Title 8">
            <a:extLst>
              <a:ext uri="{FF2B5EF4-FFF2-40B4-BE49-F238E27FC236}">
                <a16:creationId xmlns:a16="http://schemas.microsoft.com/office/drawing/2014/main" id="{897AF51D-BB43-409C-BB87-16F46173CAE7}"/>
              </a:ext>
            </a:extLst>
          </p:cNvPr>
          <p:cNvSpPr>
            <a:spLocks noGrp="1"/>
          </p:cNvSpPr>
          <p:nvPr>
            <p:ph type="title"/>
          </p:nvPr>
        </p:nvSpPr>
        <p:spPr>
          <a:xfrm>
            <a:off x="1" y="0"/>
            <a:ext cx="5486400" cy="1288673"/>
          </a:xfrm>
        </p:spPr>
        <p:txBody>
          <a:bodyPr>
            <a:normAutofit fontScale="90000"/>
          </a:bodyPr>
          <a:lstStyle/>
          <a:p>
            <a:pPr algn="ctr"/>
            <a:r>
              <a:rPr lang="en-US"/>
              <a:t>1. Khái niệm CSDL quan hệ</a:t>
            </a:r>
            <a:endParaRPr lang="en-US" dirty="0"/>
          </a:p>
        </p:txBody>
      </p:sp>
      <p:pic>
        <p:nvPicPr>
          <p:cNvPr id="2" name="Picture 1">
            <a:extLst>
              <a:ext uri="{FF2B5EF4-FFF2-40B4-BE49-F238E27FC236}">
                <a16:creationId xmlns:a16="http://schemas.microsoft.com/office/drawing/2014/main" id="{9CFF5AA7-568F-4189-BD8A-677505DB2CD8}"/>
              </a:ext>
            </a:extLst>
          </p:cNvPr>
          <p:cNvPicPr>
            <a:picLocks noChangeAspect="1"/>
          </p:cNvPicPr>
          <p:nvPr/>
        </p:nvPicPr>
        <p:blipFill>
          <a:blip r:embed="rId4"/>
          <a:stretch>
            <a:fillRect/>
          </a:stretch>
        </p:blipFill>
        <p:spPr>
          <a:xfrm>
            <a:off x="6672353" y="3429000"/>
            <a:ext cx="5407621" cy="3353091"/>
          </a:xfrm>
          <a:prstGeom prst="rect">
            <a:avLst/>
          </a:prstGeom>
        </p:spPr>
      </p:pic>
      <p:pic>
        <p:nvPicPr>
          <p:cNvPr id="7" name="Picture 6">
            <a:extLst>
              <a:ext uri="{FF2B5EF4-FFF2-40B4-BE49-F238E27FC236}">
                <a16:creationId xmlns:a16="http://schemas.microsoft.com/office/drawing/2014/main" id="{D4FE1B75-6030-496A-8789-8634C671C3A2}"/>
              </a:ext>
            </a:extLst>
          </p:cNvPr>
          <p:cNvPicPr>
            <a:picLocks noChangeAspect="1"/>
          </p:cNvPicPr>
          <p:nvPr/>
        </p:nvPicPr>
        <p:blipFill>
          <a:blip r:embed="rId5"/>
          <a:stretch>
            <a:fillRect/>
          </a:stretch>
        </p:blipFill>
        <p:spPr>
          <a:xfrm>
            <a:off x="6885731" y="325192"/>
            <a:ext cx="4980864" cy="2877561"/>
          </a:xfrm>
          <a:prstGeom prst="rect">
            <a:avLst/>
          </a:prstGeom>
        </p:spPr>
      </p:pic>
      <p:grpSp>
        <p:nvGrpSpPr>
          <p:cNvPr id="8" name="Confrontation" descr="{&quot;Key&quot;:&quot;POWER_USER_SHAPE_ICON&quot;,&quot;Value&quot;:&quot;POWER_USER_SHAPE_ICON_STYLE_1&quot;}">
            <a:extLst>
              <a:ext uri="{FF2B5EF4-FFF2-40B4-BE49-F238E27FC236}">
                <a16:creationId xmlns:a16="http://schemas.microsoft.com/office/drawing/2014/main" id="{94CD9153-57DC-4F01-9B0F-6317306790D8}"/>
              </a:ext>
            </a:extLst>
          </p:cNvPr>
          <p:cNvGrpSpPr>
            <a:grpSpLocks noChangeAspect="1"/>
          </p:cNvGrpSpPr>
          <p:nvPr>
            <p:custDataLst>
              <p:tags r:id="rId1"/>
            </p:custDataLst>
          </p:nvPr>
        </p:nvGrpSpPr>
        <p:grpSpPr>
          <a:xfrm>
            <a:off x="225903" y="3828084"/>
            <a:ext cx="1043339" cy="981967"/>
            <a:chOff x="6764338" y="5940425"/>
            <a:chExt cx="782637" cy="736601"/>
          </a:xfrm>
          <a:noFill/>
        </p:grpSpPr>
        <p:sp>
          <p:nvSpPr>
            <p:cNvPr id="9" name="Freeform 31">
              <a:extLst>
                <a:ext uri="{FF2B5EF4-FFF2-40B4-BE49-F238E27FC236}">
                  <a16:creationId xmlns:a16="http://schemas.microsoft.com/office/drawing/2014/main" id="{B982F085-AD13-4883-81A6-FF65DA627155}"/>
                </a:ext>
              </a:extLst>
            </p:cNvPr>
            <p:cNvSpPr>
              <a:spLocks/>
            </p:cNvSpPr>
            <p:nvPr/>
          </p:nvSpPr>
          <p:spPr bwMode="auto">
            <a:xfrm>
              <a:off x="6935788" y="6016625"/>
              <a:ext cx="95250" cy="112713"/>
            </a:xfrm>
            <a:custGeom>
              <a:avLst/>
              <a:gdLst>
                <a:gd name="T0" fmla="*/ 112 w 123"/>
                <a:gd name="T1" fmla="*/ 141 h 147"/>
                <a:gd name="T2" fmla="*/ 119 w 123"/>
                <a:gd name="T3" fmla="*/ 119 h 147"/>
                <a:gd name="T4" fmla="*/ 47 w 123"/>
                <a:gd name="T5" fmla="*/ 14 h 147"/>
                <a:gd name="T6" fmla="*/ 13 w 123"/>
                <a:gd name="T7" fmla="*/ 9 h 147"/>
                <a:gd name="T8" fmla="*/ 8 w 123"/>
                <a:gd name="T9" fmla="*/ 43 h 147"/>
                <a:gd name="T10" fmla="*/ 89 w 123"/>
                <a:gd name="T11" fmla="*/ 141 h 147"/>
                <a:gd name="T12" fmla="*/ 112 w 123"/>
                <a:gd name="T13" fmla="*/ 141 h 147"/>
              </a:gdLst>
              <a:ahLst/>
              <a:cxnLst>
                <a:cxn ang="0">
                  <a:pos x="T0" y="T1"/>
                </a:cxn>
                <a:cxn ang="0">
                  <a:pos x="T2" y="T3"/>
                </a:cxn>
                <a:cxn ang="0">
                  <a:pos x="T4" y="T5"/>
                </a:cxn>
                <a:cxn ang="0">
                  <a:pos x="T6" y="T7"/>
                </a:cxn>
                <a:cxn ang="0">
                  <a:pos x="T8" y="T9"/>
                </a:cxn>
                <a:cxn ang="0">
                  <a:pos x="T10" y="T11"/>
                </a:cxn>
                <a:cxn ang="0">
                  <a:pos x="T12" y="T13"/>
                </a:cxn>
              </a:cxnLst>
              <a:rect l="0" t="0" r="r" b="b"/>
              <a:pathLst>
                <a:path w="123" h="147">
                  <a:moveTo>
                    <a:pt x="112" y="141"/>
                  </a:moveTo>
                  <a:cubicBezTo>
                    <a:pt x="120" y="135"/>
                    <a:pt x="123" y="125"/>
                    <a:pt x="119" y="119"/>
                  </a:cubicBezTo>
                  <a:lnTo>
                    <a:pt x="47" y="14"/>
                  </a:lnTo>
                  <a:cubicBezTo>
                    <a:pt x="40" y="3"/>
                    <a:pt x="25" y="0"/>
                    <a:pt x="13" y="9"/>
                  </a:cubicBezTo>
                  <a:cubicBezTo>
                    <a:pt x="2" y="17"/>
                    <a:pt x="0" y="33"/>
                    <a:pt x="8" y="43"/>
                  </a:cubicBezTo>
                  <a:lnTo>
                    <a:pt x="89" y="141"/>
                  </a:lnTo>
                  <a:cubicBezTo>
                    <a:pt x="94" y="147"/>
                    <a:pt x="104" y="146"/>
                    <a:pt x="112" y="141"/>
                  </a:cubicBez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32">
              <a:extLst>
                <a:ext uri="{FF2B5EF4-FFF2-40B4-BE49-F238E27FC236}">
                  <a16:creationId xmlns:a16="http://schemas.microsoft.com/office/drawing/2014/main" id="{F481ECE7-73FF-4411-BFCB-7731F02FAC01}"/>
                </a:ext>
              </a:extLst>
            </p:cNvPr>
            <p:cNvSpPr>
              <a:spLocks/>
            </p:cNvSpPr>
            <p:nvPr/>
          </p:nvSpPr>
          <p:spPr bwMode="auto">
            <a:xfrm>
              <a:off x="7065963" y="5962650"/>
              <a:ext cx="46038" cy="127000"/>
            </a:xfrm>
            <a:custGeom>
              <a:avLst/>
              <a:gdLst>
                <a:gd name="T0" fmla="*/ 24 w 60"/>
                <a:gd name="T1" fmla="*/ 1 h 166"/>
                <a:gd name="T2" fmla="*/ 3 w 60"/>
                <a:gd name="T3" fmla="*/ 28 h 166"/>
                <a:gd name="T4" fmla="*/ 23 w 60"/>
                <a:gd name="T5" fmla="*/ 154 h 166"/>
                <a:gd name="T6" fmla="*/ 42 w 60"/>
                <a:gd name="T7" fmla="*/ 165 h 166"/>
                <a:gd name="T8" fmla="*/ 59 w 60"/>
                <a:gd name="T9" fmla="*/ 150 h 166"/>
                <a:gd name="T10" fmla="*/ 51 w 60"/>
                <a:gd name="T11" fmla="*/ 23 h 166"/>
                <a:gd name="T12" fmla="*/ 24 w 60"/>
                <a:gd name="T13" fmla="*/ 1 h 166"/>
              </a:gdLst>
              <a:ahLst/>
              <a:cxnLst>
                <a:cxn ang="0">
                  <a:pos x="T0" y="T1"/>
                </a:cxn>
                <a:cxn ang="0">
                  <a:pos x="T2" y="T3"/>
                </a:cxn>
                <a:cxn ang="0">
                  <a:pos x="T4" y="T5"/>
                </a:cxn>
                <a:cxn ang="0">
                  <a:pos x="T6" y="T7"/>
                </a:cxn>
                <a:cxn ang="0">
                  <a:pos x="T8" y="T9"/>
                </a:cxn>
                <a:cxn ang="0">
                  <a:pos x="T10" y="T11"/>
                </a:cxn>
                <a:cxn ang="0">
                  <a:pos x="T12" y="T13"/>
                </a:cxn>
              </a:cxnLst>
              <a:rect l="0" t="0" r="r" b="b"/>
              <a:pathLst>
                <a:path w="60" h="166">
                  <a:moveTo>
                    <a:pt x="24" y="1"/>
                  </a:moveTo>
                  <a:cubicBezTo>
                    <a:pt x="10" y="3"/>
                    <a:pt x="0" y="15"/>
                    <a:pt x="3" y="28"/>
                  </a:cubicBezTo>
                  <a:lnTo>
                    <a:pt x="23" y="154"/>
                  </a:lnTo>
                  <a:cubicBezTo>
                    <a:pt x="24" y="161"/>
                    <a:pt x="33" y="166"/>
                    <a:pt x="42" y="165"/>
                  </a:cubicBezTo>
                  <a:cubicBezTo>
                    <a:pt x="52" y="164"/>
                    <a:pt x="60" y="157"/>
                    <a:pt x="59" y="150"/>
                  </a:cubicBezTo>
                  <a:lnTo>
                    <a:pt x="51" y="23"/>
                  </a:lnTo>
                  <a:cubicBezTo>
                    <a:pt x="50" y="10"/>
                    <a:pt x="38" y="0"/>
                    <a:pt x="24" y="1"/>
                  </a:cubicBez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33">
              <a:extLst>
                <a:ext uri="{FF2B5EF4-FFF2-40B4-BE49-F238E27FC236}">
                  <a16:creationId xmlns:a16="http://schemas.microsoft.com/office/drawing/2014/main" id="{12B06BB5-D1E3-41D3-9A3C-286C879C76B0}"/>
                </a:ext>
              </a:extLst>
            </p:cNvPr>
            <p:cNvSpPr>
              <a:spLocks/>
            </p:cNvSpPr>
            <p:nvPr/>
          </p:nvSpPr>
          <p:spPr bwMode="auto">
            <a:xfrm>
              <a:off x="6845300" y="6126163"/>
              <a:ext cx="123825" cy="69850"/>
            </a:xfrm>
            <a:custGeom>
              <a:avLst/>
              <a:gdLst>
                <a:gd name="T0" fmla="*/ 35 w 162"/>
                <a:gd name="T1" fmla="*/ 5 h 91"/>
                <a:gd name="T2" fmla="*/ 4 w 162"/>
                <a:gd name="T3" fmla="*/ 20 h 91"/>
                <a:gd name="T4" fmla="*/ 19 w 162"/>
                <a:gd name="T5" fmla="*/ 51 h 91"/>
                <a:gd name="T6" fmla="*/ 141 w 162"/>
                <a:gd name="T7" fmla="*/ 89 h 91"/>
                <a:gd name="T8" fmla="*/ 159 w 162"/>
                <a:gd name="T9" fmla="*/ 76 h 91"/>
                <a:gd name="T10" fmla="*/ 153 w 162"/>
                <a:gd name="T11" fmla="*/ 54 h 91"/>
                <a:gd name="T12" fmla="*/ 35 w 162"/>
                <a:gd name="T13" fmla="*/ 5 h 91"/>
              </a:gdLst>
              <a:ahLst/>
              <a:cxnLst>
                <a:cxn ang="0">
                  <a:pos x="T0" y="T1"/>
                </a:cxn>
                <a:cxn ang="0">
                  <a:pos x="T2" y="T3"/>
                </a:cxn>
                <a:cxn ang="0">
                  <a:pos x="T4" y="T5"/>
                </a:cxn>
                <a:cxn ang="0">
                  <a:pos x="T6" y="T7"/>
                </a:cxn>
                <a:cxn ang="0">
                  <a:pos x="T8" y="T9"/>
                </a:cxn>
                <a:cxn ang="0">
                  <a:pos x="T10" y="T11"/>
                </a:cxn>
                <a:cxn ang="0">
                  <a:pos x="T12" y="T13"/>
                </a:cxn>
              </a:cxnLst>
              <a:rect l="0" t="0" r="r" b="b"/>
              <a:pathLst>
                <a:path w="162" h="91">
                  <a:moveTo>
                    <a:pt x="35" y="5"/>
                  </a:moveTo>
                  <a:cubicBezTo>
                    <a:pt x="24" y="0"/>
                    <a:pt x="9" y="6"/>
                    <a:pt x="4" y="20"/>
                  </a:cubicBezTo>
                  <a:cubicBezTo>
                    <a:pt x="0" y="33"/>
                    <a:pt x="6" y="47"/>
                    <a:pt x="19" y="51"/>
                  </a:cubicBezTo>
                  <a:lnTo>
                    <a:pt x="141" y="89"/>
                  </a:lnTo>
                  <a:cubicBezTo>
                    <a:pt x="148" y="91"/>
                    <a:pt x="156" y="85"/>
                    <a:pt x="159" y="76"/>
                  </a:cubicBezTo>
                  <a:cubicBezTo>
                    <a:pt x="162" y="67"/>
                    <a:pt x="160" y="57"/>
                    <a:pt x="153" y="54"/>
                  </a:cubicBezTo>
                  <a:lnTo>
                    <a:pt x="35" y="5"/>
                  </a:lnTo>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34">
              <a:extLst>
                <a:ext uri="{FF2B5EF4-FFF2-40B4-BE49-F238E27FC236}">
                  <a16:creationId xmlns:a16="http://schemas.microsoft.com/office/drawing/2014/main" id="{6044EAFB-7649-42BC-9375-E6DA97B05B37}"/>
                </a:ext>
              </a:extLst>
            </p:cNvPr>
            <p:cNvSpPr>
              <a:spLocks/>
            </p:cNvSpPr>
            <p:nvPr/>
          </p:nvSpPr>
          <p:spPr bwMode="auto">
            <a:xfrm>
              <a:off x="7281863" y="6475413"/>
              <a:ext cx="93663" cy="112713"/>
            </a:xfrm>
            <a:custGeom>
              <a:avLst/>
              <a:gdLst>
                <a:gd name="T0" fmla="*/ 34 w 123"/>
                <a:gd name="T1" fmla="*/ 5 h 147"/>
                <a:gd name="T2" fmla="*/ 12 w 123"/>
                <a:gd name="T3" fmla="*/ 6 h 147"/>
                <a:gd name="T4" fmla="*/ 4 w 123"/>
                <a:gd name="T5" fmla="*/ 28 h 147"/>
                <a:gd name="T6" fmla="*/ 76 w 123"/>
                <a:gd name="T7" fmla="*/ 133 h 147"/>
                <a:gd name="T8" fmla="*/ 110 w 123"/>
                <a:gd name="T9" fmla="*/ 138 h 147"/>
                <a:gd name="T10" fmla="*/ 115 w 123"/>
                <a:gd name="T11" fmla="*/ 104 h 147"/>
                <a:gd name="T12" fmla="*/ 34 w 123"/>
                <a:gd name="T13" fmla="*/ 5 h 147"/>
              </a:gdLst>
              <a:ahLst/>
              <a:cxnLst>
                <a:cxn ang="0">
                  <a:pos x="T0" y="T1"/>
                </a:cxn>
                <a:cxn ang="0">
                  <a:pos x="T2" y="T3"/>
                </a:cxn>
                <a:cxn ang="0">
                  <a:pos x="T4" y="T5"/>
                </a:cxn>
                <a:cxn ang="0">
                  <a:pos x="T6" y="T7"/>
                </a:cxn>
                <a:cxn ang="0">
                  <a:pos x="T8" y="T9"/>
                </a:cxn>
                <a:cxn ang="0">
                  <a:pos x="T10" y="T11"/>
                </a:cxn>
                <a:cxn ang="0">
                  <a:pos x="T12" y="T13"/>
                </a:cxn>
              </a:cxnLst>
              <a:rect l="0" t="0" r="r" b="b"/>
              <a:pathLst>
                <a:path w="123" h="147">
                  <a:moveTo>
                    <a:pt x="34" y="5"/>
                  </a:moveTo>
                  <a:cubicBezTo>
                    <a:pt x="29" y="0"/>
                    <a:pt x="19" y="1"/>
                    <a:pt x="12" y="6"/>
                  </a:cubicBezTo>
                  <a:cubicBezTo>
                    <a:pt x="4" y="12"/>
                    <a:pt x="0" y="22"/>
                    <a:pt x="4" y="28"/>
                  </a:cubicBezTo>
                  <a:lnTo>
                    <a:pt x="76" y="133"/>
                  </a:lnTo>
                  <a:cubicBezTo>
                    <a:pt x="83" y="144"/>
                    <a:pt x="99" y="147"/>
                    <a:pt x="110" y="138"/>
                  </a:cubicBezTo>
                  <a:cubicBezTo>
                    <a:pt x="121" y="130"/>
                    <a:pt x="123" y="114"/>
                    <a:pt x="115" y="104"/>
                  </a:cubicBezTo>
                  <a:lnTo>
                    <a:pt x="34" y="5"/>
                  </a:ln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35">
              <a:extLst>
                <a:ext uri="{FF2B5EF4-FFF2-40B4-BE49-F238E27FC236}">
                  <a16:creationId xmlns:a16="http://schemas.microsoft.com/office/drawing/2014/main" id="{D4F62B2C-8229-4562-B58A-9D28F133BF9B}"/>
                </a:ext>
              </a:extLst>
            </p:cNvPr>
            <p:cNvSpPr>
              <a:spLocks/>
            </p:cNvSpPr>
            <p:nvPr/>
          </p:nvSpPr>
          <p:spPr bwMode="auto">
            <a:xfrm>
              <a:off x="7200900" y="6515100"/>
              <a:ext cx="44450" cy="127000"/>
            </a:xfrm>
            <a:custGeom>
              <a:avLst/>
              <a:gdLst>
                <a:gd name="T0" fmla="*/ 37 w 59"/>
                <a:gd name="T1" fmla="*/ 12 h 166"/>
                <a:gd name="T2" fmla="*/ 17 w 59"/>
                <a:gd name="T3" fmla="*/ 1 h 166"/>
                <a:gd name="T4" fmla="*/ 0 w 59"/>
                <a:gd name="T5" fmla="*/ 16 h 166"/>
                <a:gd name="T6" fmla="*/ 9 w 59"/>
                <a:gd name="T7" fmla="*/ 143 h 166"/>
                <a:gd name="T8" fmla="*/ 35 w 59"/>
                <a:gd name="T9" fmla="*/ 165 h 166"/>
                <a:gd name="T10" fmla="*/ 57 w 59"/>
                <a:gd name="T11" fmla="*/ 138 h 166"/>
                <a:gd name="T12" fmla="*/ 37 w 59"/>
                <a:gd name="T13" fmla="*/ 12 h 166"/>
              </a:gdLst>
              <a:ahLst/>
              <a:cxnLst>
                <a:cxn ang="0">
                  <a:pos x="T0" y="T1"/>
                </a:cxn>
                <a:cxn ang="0">
                  <a:pos x="T2" y="T3"/>
                </a:cxn>
                <a:cxn ang="0">
                  <a:pos x="T4" y="T5"/>
                </a:cxn>
                <a:cxn ang="0">
                  <a:pos x="T6" y="T7"/>
                </a:cxn>
                <a:cxn ang="0">
                  <a:pos x="T8" y="T9"/>
                </a:cxn>
                <a:cxn ang="0">
                  <a:pos x="T10" y="T11"/>
                </a:cxn>
                <a:cxn ang="0">
                  <a:pos x="T12" y="T13"/>
                </a:cxn>
              </a:cxnLst>
              <a:rect l="0" t="0" r="r" b="b"/>
              <a:pathLst>
                <a:path w="59" h="166">
                  <a:moveTo>
                    <a:pt x="37" y="12"/>
                  </a:moveTo>
                  <a:cubicBezTo>
                    <a:pt x="36" y="5"/>
                    <a:pt x="27" y="0"/>
                    <a:pt x="17" y="1"/>
                  </a:cubicBezTo>
                  <a:cubicBezTo>
                    <a:pt x="7" y="2"/>
                    <a:pt x="0" y="9"/>
                    <a:pt x="0" y="16"/>
                  </a:cubicBezTo>
                  <a:lnTo>
                    <a:pt x="9" y="143"/>
                  </a:lnTo>
                  <a:cubicBezTo>
                    <a:pt x="9" y="156"/>
                    <a:pt x="21" y="166"/>
                    <a:pt x="35" y="165"/>
                  </a:cubicBezTo>
                  <a:cubicBezTo>
                    <a:pt x="50" y="163"/>
                    <a:pt x="59" y="151"/>
                    <a:pt x="57" y="138"/>
                  </a:cubicBezTo>
                  <a:lnTo>
                    <a:pt x="37" y="12"/>
                  </a:ln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6">
              <a:extLst>
                <a:ext uri="{FF2B5EF4-FFF2-40B4-BE49-F238E27FC236}">
                  <a16:creationId xmlns:a16="http://schemas.microsoft.com/office/drawing/2014/main" id="{C5BE3D00-002A-43F0-ADF1-8CB17192CC3B}"/>
                </a:ext>
              </a:extLst>
            </p:cNvPr>
            <p:cNvSpPr>
              <a:spLocks/>
            </p:cNvSpPr>
            <p:nvPr/>
          </p:nvSpPr>
          <p:spPr bwMode="auto">
            <a:xfrm>
              <a:off x="7342188" y="6408738"/>
              <a:ext cx="125413" cy="69850"/>
            </a:xfrm>
            <a:custGeom>
              <a:avLst/>
              <a:gdLst>
                <a:gd name="T0" fmla="*/ 144 w 163"/>
                <a:gd name="T1" fmla="*/ 40 h 91"/>
                <a:gd name="T2" fmla="*/ 22 w 163"/>
                <a:gd name="T3" fmla="*/ 2 h 91"/>
                <a:gd name="T4" fmla="*/ 3 w 163"/>
                <a:gd name="T5" fmla="*/ 15 h 91"/>
                <a:gd name="T6" fmla="*/ 9 w 163"/>
                <a:gd name="T7" fmla="*/ 37 h 91"/>
                <a:gd name="T8" fmla="*/ 127 w 163"/>
                <a:gd name="T9" fmla="*/ 86 h 91"/>
                <a:gd name="T10" fmla="*/ 158 w 163"/>
                <a:gd name="T11" fmla="*/ 71 h 91"/>
                <a:gd name="T12" fmla="*/ 144 w 163"/>
                <a:gd name="T13" fmla="*/ 40 h 91"/>
              </a:gdLst>
              <a:ahLst/>
              <a:cxnLst>
                <a:cxn ang="0">
                  <a:pos x="T0" y="T1"/>
                </a:cxn>
                <a:cxn ang="0">
                  <a:pos x="T2" y="T3"/>
                </a:cxn>
                <a:cxn ang="0">
                  <a:pos x="T4" y="T5"/>
                </a:cxn>
                <a:cxn ang="0">
                  <a:pos x="T6" y="T7"/>
                </a:cxn>
                <a:cxn ang="0">
                  <a:pos x="T8" y="T9"/>
                </a:cxn>
                <a:cxn ang="0">
                  <a:pos x="T10" y="T11"/>
                </a:cxn>
                <a:cxn ang="0">
                  <a:pos x="T12" y="T13"/>
                </a:cxn>
              </a:cxnLst>
              <a:rect l="0" t="0" r="r" b="b"/>
              <a:pathLst>
                <a:path w="163" h="91">
                  <a:moveTo>
                    <a:pt x="144" y="40"/>
                  </a:moveTo>
                  <a:lnTo>
                    <a:pt x="22" y="2"/>
                  </a:lnTo>
                  <a:cubicBezTo>
                    <a:pt x="15" y="0"/>
                    <a:pt x="7" y="6"/>
                    <a:pt x="3" y="15"/>
                  </a:cubicBezTo>
                  <a:cubicBezTo>
                    <a:pt x="0" y="24"/>
                    <a:pt x="2" y="34"/>
                    <a:pt x="9" y="37"/>
                  </a:cubicBezTo>
                  <a:lnTo>
                    <a:pt x="127" y="86"/>
                  </a:lnTo>
                  <a:cubicBezTo>
                    <a:pt x="139" y="91"/>
                    <a:pt x="153" y="85"/>
                    <a:pt x="158" y="71"/>
                  </a:cubicBezTo>
                  <a:cubicBezTo>
                    <a:pt x="163" y="58"/>
                    <a:pt x="156" y="44"/>
                    <a:pt x="144" y="40"/>
                  </a:cubicBezTo>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37">
              <a:extLst>
                <a:ext uri="{FF2B5EF4-FFF2-40B4-BE49-F238E27FC236}">
                  <a16:creationId xmlns:a16="http://schemas.microsoft.com/office/drawing/2014/main" id="{7B857553-22D9-45B2-AEF6-FE4C2A378FBA}"/>
                </a:ext>
              </a:extLst>
            </p:cNvPr>
            <p:cNvSpPr>
              <a:spLocks/>
            </p:cNvSpPr>
            <p:nvPr/>
          </p:nvSpPr>
          <p:spPr bwMode="auto">
            <a:xfrm>
              <a:off x="6764338" y="6221413"/>
              <a:ext cx="433388" cy="455613"/>
            </a:xfrm>
            <a:custGeom>
              <a:avLst/>
              <a:gdLst>
                <a:gd name="T0" fmla="*/ 502 w 568"/>
                <a:gd name="T1" fmla="*/ 285 h 598"/>
                <a:gd name="T2" fmla="*/ 519 w 568"/>
                <a:gd name="T3" fmla="*/ 267 h 598"/>
                <a:gd name="T4" fmla="*/ 519 w 568"/>
                <a:gd name="T5" fmla="*/ 192 h 598"/>
                <a:gd name="T6" fmla="*/ 455 w 568"/>
                <a:gd name="T7" fmla="*/ 184 h 598"/>
                <a:gd name="T8" fmla="*/ 463 w 568"/>
                <a:gd name="T9" fmla="*/ 100 h 598"/>
                <a:gd name="T10" fmla="*/ 393 w 568"/>
                <a:gd name="T11" fmla="*/ 95 h 598"/>
                <a:gd name="T12" fmla="*/ 392 w 568"/>
                <a:gd name="T13" fmla="*/ 21 h 598"/>
                <a:gd name="T14" fmla="*/ 317 w 568"/>
                <a:gd name="T15" fmla="*/ 21 h 598"/>
                <a:gd name="T16" fmla="*/ 205 w 568"/>
                <a:gd name="T17" fmla="*/ 132 h 598"/>
                <a:gd name="T18" fmla="*/ 205 w 568"/>
                <a:gd name="T19" fmla="*/ 69 h 598"/>
                <a:gd name="T20" fmla="*/ 236 w 568"/>
                <a:gd name="T21" fmla="*/ 38 h 598"/>
                <a:gd name="T22" fmla="*/ 112 w 568"/>
                <a:gd name="T23" fmla="*/ 93 h 598"/>
                <a:gd name="T24" fmla="*/ 79 w 568"/>
                <a:gd name="T25" fmla="*/ 311 h 598"/>
                <a:gd name="T26" fmla="*/ 0 w 568"/>
                <a:gd name="T27" fmla="*/ 390 h 598"/>
                <a:gd name="T28" fmla="*/ 209 w 568"/>
                <a:gd name="T29" fmla="*/ 598 h 598"/>
                <a:gd name="T30" fmla="*/ 279 w 568"/>
                <a:gd name="T31" fmla="*/ 528 h 598"/>
                <a:gd name="T32" fmla="*/ 434 w 568"/>
                <a:gd name="T33" fmla="*/ 486 h 598"/>
                <a:gd name="T34" fmla="*/ 548 w 568"/>
                <a:gd name="T35" fmla="*/ 372 h 598"/>
                <a:gd name="T36" fmla="*/ 548 w 568"/>
                <a:gd name="T37" fmla="*/ 299 h 598"/>
                <a:gd name="T38" fmla="*/ 502 w 568"/>
                <a:gd name="T39" fmla="*/ 285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8" h="598">
                  <a:moveTo>
                    <a:pt x="502" y="285"/>
                  </a:moveTo>
                  <a:lnTo>
                    <a:pt x="519" y="267"/>
                  </a:lnTo>
                  <a:cubicBezTo>
                    <a:pt x="539" y="247"/>
                    <a:pt x="539" y="213"/>
                    <a:pt x="519" y="192"/>
                  </a:cubicBezTo>
                  <a:cubicBezTo>
                    <a:pt x="501" y="175"/>
                    <a:pt x="475" y="172"/>
                    <a:pt x="455" y="184"/>
                  </a:cubicBezTo>
                  <a:cubicBezTo>
                    <a:pt x="480" y="158"/>
                    <a:pt x="488" y="125"/>
                    <a:pt x="463" y="100"/>
                  </a:cubicBezTo>
                  <a:cubicBezTo>
                    <a:pt x="444" y="80"/>
                    <a:pt x="414" y="79"/>
                    <a:pt x="393" y="95"/>
                  </a:cubicBezTo>
                  <a:cubicBezTo>
                    <a:pt x="413" y="75"/>
                    <a:pt x="413" y="41"/>
                    <a:pt x="392" y="21"/>
                  </a:cubicBezTo>
                  <a:cubicBezTo>
                    <a:pt x="371" y="0"/>
                    <a:pt x="338" y="0"/>
                    <a:pt x="317" y="21"/>
                  </a:cubicBezTo>
                  <a:lnTo>
                    <a:pt x="205" y="132"/>
                  </a:lnTo>
                  <a:cubicBezTo>
                    <a:pt x="188" y="115"/>
                    <a:pt x="188" y="86"/>
                    <a:pt x="205" y="69"/>
                  </a:cubicBezTo>
                  <a:lnTo>
                    <a:pt x="236" y="38"/>
                  </a:lnTo>
                  <a:cubicBezTo>
                    <a:pt x="182" y="42"/>
                    <a:pt x="125" y="68"/>
                    <a:pt x="112" y="93"/>
                  </a:cubicBezTo>
                  <a:cubicBezTo>
                    <a:pt x="93" y="129"/>
                    <a:pt x="79" y="253"/>
                    <a:pt x="79" y="311"/>
                  </a:cubicBezTo>
                  <a:lnTo>
                    <a:pt x="0" y="390"/>
                  </a:lnTo>
                  <a:lnTo>
                    <a:pt x="209" y="598"/>
                  </a:lnTo>
                  <a:lnTo>
                    <a:pt x="279" y="528"/>
                  </a:lnTo>
                  <a:cubicBezTo>
                    <a:pt x="335" y="545"/>
                    <a:pt x="398" y="522"/>
                    <a:pt x="434" y="486"/>
                  </a:cubicBezTo>
                  <a:lnTo>
                    <a:pt x="548" y="372"/>
                  </a:lnTo>
                  <a:cubicBezTo>
                    <a:pt x="568" y="352"/>
                    <a:pt x="568" y="319"/>
                    <a:pt x="548" y="299"/>
                  </a:cubicBezTo>
                  <a:cubicBezTo>
                    <a:pt x="535" y="286"/>
                    <a:pt x="518" y="282"/>
                    <a:pt x="502" y="285"/>
                  </a:cubicBez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38">
              <a:extLst>
                <a:ext uri="{FF2B5EF4-FFF2-40B4-BE49-F238E27FC236}">
                  <a16:creationId xmlns:a16="http://schemas.microsoft.com/office/drawing/2014/main" id="{A8A84865-B332-4524-9696-B507E1091039}"/>
                </a:ext>
              </a:extLst>
            </p:cNvPr>
            <p:cNvSpPr>
              <a:spLocks/>
            </p:cNvSpPr>
            <p:nvPr/>
          </p:nvSpPr>
          <p:spPr bwMode="auto">
            <a:xfrm>
              <a:off x="7115175" y="5940425"/>
              <a:ext cx="431800" cy="455613"/>
            </a:xfrm>
            <a:custGeom>
              <a:avLst/>
              <a:gdLst>
                <a:gd name="T0" fmla="*/ 289 w 568"/>
                <a:gd name="T1" fmla="*/ 70 h 598"/>
                <a:gd name="T2" fmla="*/ 134 w 568"/>
                <a:gd name="T3" fmla="*/ 112 h 598"/>
                <a:gd name="T4" fmla="*/ 21 w 568"/>
                <a:gd name="T5" fmla="*/ 226 h 598"/>
                <a:gd name="T6" fmla="*/ 21 w 568"/>
                <a:gd name="T7" fmla="*/ 299 h 598"/>
                <a:gd name="T8" fmla="*/ 67 w 568"/>
                <a:gd name="T9" fmla="*/ 313 h 598"/>
                <a:gd name="T10" fmla="*/ 50 w 568"/>
                <a:gd name="T11" fmla="*/ 331 h 598"/>
                <a:gd name="T12" fmla="*/ 50 w 568"/>
                <a:gd name="T13" fmla="*/ 406 h 598"/>
                <a:gd name="T14" fmla="*/ 114 w 568"/>
                <a:gd name="T15" fmla="*/ 414 h 598"/>
                <a:gd name="T16" fmla="*/ 105 w 568"/>
                <a:gd name="T17" fmla="*/ 498 h 598"/>
                <a:gd name="T18" fmla="*/ 175 w 568"/>
                <a:gd name="T19" fmla="*/ 503 h 598"/>
                <a:gd name="T20" fmla="*/ 176 w 568"/>
                <a:gd name="T21" fmla="*/ 577 h 598"/>
                <a:gd name="T22" fmla="*/ 252 w 568"/>
                <a:gd name="T23" fmla="*/ 577 h 598"/>
                <a:gd name="T24" fmla="*/ 363 w 568"/>
                <a:gd name="T25" fmla="*/ 465 h 598"/>
                <a:gd name="T26" fmla="*/ 363 w 568"/>
                <a:gd name="T27" fmla="*/ 529 h 598"/>
                <a:gd name="T28" fmla="*/ 332 w 568"/>
                <a:gd name="T29" fmla="*/ 560 h 598"/>
                <a:gd name="T30" fmla="*/ 456 w 568"/>
                <a:gd name="T31" fmla="*/ 505 h 598"/>
                <a:gd name="T32" fmla="*/ 490 w 568"/>
                <a:gd name="T33" fmla="*/ 286 h 598"/>
                <a:gd name="T34" fmla="*/ 568 w 568"/>
                <a:gd name="T35" fmla="*/ 208 h 598"/>
                <a:gd name="T36" fmla="*/ 359 w 568"/>
                <a:gd name="T37" fmla="*/ 0 h 598"/>
                <a:gd name="T38" fmla="*/ 289 w 568"/>
                <a:gd name="T39" fmla="*/ 7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8" h="598">
                  <a:moveTo>
                    <a:pt x="289" y="70"/>
                  </a:moveTo>
                  <a:cubicBezTo>
                    <a:pt x="233" y="53"/>
                    <a:pt x="171" y="76"/>
                    <a:pt x="134" y="112"/>
                  </a:cubicBezTo>
                  <a:lnTo>
                    <a:pt x="21" y="226"/>
                  </a:lnTo>
                  <a:cubicBezTo>
                    <a:pt x="0" y="246"/>
                    <a:pt x="0" y="279"/>
                    <a:pt x="21" y="299"/>
                  </a:cubicBezTo>
                  <a:cubicBezTo>
                    <a:pt x="33" y="312"/>
                    <a:pt x="50" y="316"/>
                    <a:pt x="67" y="313"/>
                  </a:cubicBezTo>
                  <a:lnTo>
                    <a:pt x="50" y="331"/>
                  </a:lnTo>
                  <a:cubicBezTo>
                    <a:pt x="29" y="351"/>
                    <a:pt x="29" y="385"/>
                    <a:pt x="50" y="406"/>
                  </a:cubicBezTo>
                  <a:cubicBezTo>
                    <a:pt x="67" y="423"/>
                    <a:pt x="93" y="426"/>
                    <a:pt x="114" y="414"/>
                  </a:cubicBezTo>
                  <a:cubicBezTo>
                    <a:pt x="88" y="440"/>
                    <a:pt x="80" y="473"/>
                    <a:pt x="105" y="498"/>
                  </a:cubicBezTo>
                  <a:cubicBezTo>
                    <a:pt x="124" y="518"/>
                    <a:pt x="154" y="519"/>
                    <a:pt x="175" y="503"/>
                  </a:cubicBezTo>
                  <a:cubicBezTo>
                    <a:pt x="155" y="523"/>
                    <a:pt x="156" y="556"/>
                    <a:pt x="176" y="577"/>
                  </a:cubicBezTo>
                  <a:cubicBezTo>
                    <a:pt x="197" y="598"/>
                    <a:pt x="230" y="598"/>
                    <a:pt x="252" y="577"/>
                  </a:cubicBezTo>
                  <a:lnTo>
                    <a:pt x="363" y="465"/>
                  </a:lnTo>
                  <a:cubicBezTo>
                    <a:pt x="381" y="483"/>
                    <a:pt x="381" y="512"/>
                    <a:pt x="363" y="529"/>
                  </a:cubicBezTo>
                  <a:lnTo>
                    <a:pt x="332" y="560"/>
                  </a:lnTo>
                  <a:cubicBezTo>
                    <a:pt x="387" y="556"/>
                    <a:pt x="443" y="530"/>
                    <a:pt x="456" y="505"/>
                  </a:cubicBezTo>
                  <a:cubicBezTo>
                    <a:pt x="475" y="469"/>
                    <a:pt x="489" y="345"/>
                    <a:pt x="490" y="286"/>
                  </a:cubicBezTo>
                  <a:lnTo>
                    <a:pt x="568" y="208"/>
                  </a:lnTo>
                  <a:lnTo>
                    <a:pt x="359" y="0"/>
                  </a:lnTo>
                  <a:lnTo>
                    <a:pt x="289" y="70"/>
                  </a:lnTo>
                  <a:close/>
                </a:path>
              </a:pathLst>
            </a:custGeom>
            <a:grpFill/>
            <a:ln w="38100">
              <a:solidFill>
                <a:srgbClr val="00B05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8" name="Rectangle 17">
            <a:extLst>
              <a:ext uri="{FF2B5EF4-FFF2-40B4-BE49-F238E27FC236}">
                <a16:creationId xmlns:a16="http://schemas.microsoft.com/office/drawing/2014/main" id="{0E9A062C-9698-43B9-9006-B0FABC511FEF}"/>
              </a:ext>
            </a:extLst>
          </p:cNvPr>
          <p:cNvSpPr/>
          <p:nvPr/>
        </p:nvSpPr>
        <p:spPr>
          <a:xfrm>
            <a:off x="333834" y="5101943"/>
            <a:ext cx="5796780" cy="461665"/>
          </a:xfrm>
          <a:prstGeom prst="rect">
            <a:avLst/>
          </a:prstGeom>
        </p:spPr>
        <p:txBody>
          <a:bodyPr wrap="none">
            <a:spAutoFit/>
          </a:bodyPr>
          <a:lstStyle/>
          <a:p>
            <a:r>
              <a:rPr lang="en-US" sz="2400">
                <a:solidFill>
                  <a:schemeClr val="accent5">
                    <a:lumMod val="75000"/>
                  </a:schemeClr>
                </a:solidFill>
              </a:rPr>
              <a:t>1. </a:t>
            </a:r>
            <a:r>
              <a:rPr lang="vi-VN" sz="2400">
                <a:solidFill>
                  <a:schemeClr val="accent5">
                    <a:lumMod val="75000"/>
                  </a:schemeClr>
                </a:solidFill>
              </a:rPr>
              <a:t>Hãy chỉ ra các cột của bảng Bản nhạc.</a:t>
            </a:r>
          </a:p>
        </p:txBody>
      </p:sp>
      <p:sp>
        <p:nvSpPr>
          <p:cNvPr id="19" name="Rectangle 18">
            <a:extLst>
              <a:ext uri="{FF2B5EF4-FFF2-40B4-BE49-F238E27FC236}">
                <a16:creationId xmlns:a16="http://schemas.microsoft.com/office/drawing/2014/main" id="{4465B367-DDA8-4458-A1F3-B161B39F53F9}"/>
              </a:ext>
            </a:extLst>
          </p:cNvPr>
          <p:cNvSpPr/>
          <p:nvPr/>
        </p:nvSpPr>
        <p:spPr>
          <a:xfrm>
            <a:off x="333835" y="5598685"/>
            <a:ext cx="5762166" cy="830997"/>
          </a:xfrm>
          <a:prstGeom prst="rect">
            <a:avLst/>
          </a:prstGeom>
        </p:spPr>
        <p:txBody>
          <a:bodyPr wrap="square">
            <a:spAutoFit/>
          </a:bodyPr>
          <a:lstStyle/>
          <a:p>
            <a:r>
              <a:rPr lang="en-US" sz="2400">
                <a:solidFill>
                  <a:schemeClr val="accent5">
                    <a:lumMod val="75000"/>
                  </a:schemeClr>
                </a:solidFill>
              </a:rPr>
              <a:t>2. </a:t>
            </a:r>
            <a:r>
              <a:rPr lang="vi-VN" sz="2400">
                <a:solidFill>
                  <a:schemeClr val="accent5">
                    <a:lumMod val="75000"/>
                  </a:schemeClr>
                </a:solidFill>
              </a:rPr>
              <a:t>Bảng Bản thu âm và bảng Ca sĩ có chung thuộc tính nào?</a:t>
            </a:r>
          </a:p>
        </p:txBody>
      </p:sp>
      <p:sp>
        <p:nvSpPr>
          <p:cNvPr id="20" name="Oval 19">
            <a:extLst>
              <a:ext uri="{FF2B5EF4-FFF2-40B4-BE49-F238E27FC236}">
                <a16:creationId xmlns:a16="http://schemas.microsoft.com/office/drawing/2014/main" id="{9A89CA27-F989-4054-AF68-51CE16BBC83A}"/>
              </a:ext>
            </a:extLst>
          </p:cNvPr>
          <p:cNvSpPr/>
          <p:nvPr/>
        </p:nvSpPr>
        <p:spPr>
          <a:xfrm>
            <a:off x="6672353" y="3725839"/>
            <a:ext cx="3795480" cy="476832"/>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21" name="Oval 20">
            <a:extLst>
              <a:ext uri="{FF2B5EF4-FFF2-40B4-BE49-F238E27FC236}">
                <a16:creationId xmlns:a16="http://schemas.microsoft.com/office/drawing/2014/main" id="{FF69775F-155C-42F4-8136-7261D19BDC20}"/>
              </a:ext>
            </a:extLst>
          </p:cNvPr>
          <p:cNvSpPr/>
          <p:nvPr/>
        </p:nvSpPr>
        <p:spPr>
          <a:xfrm>
            <a:off x="9539785" y="696036"/>
            <a:ext cx="641445" cy="59263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22" name="Oval 21">
            <a:extLst>
              <a:ext uri="{FF2B5EF4-FFF2-40B4-BE49-F238E27FC236}">
                <a16:creationId xmlns:a16="http://schemas.microsoft.com/office/drawing/2014/main" id="{6D315582-4553-4569-AA55-AED9B7EBB7DA}"/>
              </a:ext>
            </a:extLst>
          </p:cNvPr>
          <p:cNvSpPr/>
          <p:nvPr/>
        </p:nvSpPr>
        <p:spPr>
          <a:xfrm>
            <a:off x="11416813" y="3667936"/>
            <a:ext cx="641445" cy="592637"/>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Tree>
    <p:extLst>
      <p:ext uri="{BB962C8B-B14F-4D97-AF65-F5344CB8AC3E}">
        <p14:creationId xmlns:p14="http://schemas.microsoft.com/office/powerpoint/2010/main" val="910666834"/>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arn(inVertical)">
                                      <p:cBhvr>
                                        <p:cTn id="7" dur="500"/>
                                        <p:tgtEl>
                                          <p:spTgt spid="8"/>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barn(inVertical)">
                                      <p:cBhvr>
                                        <p:cTn id="10" dur="500"/>
                                        <p:tgtEl>
                                          <p:spTgt spid="18"/>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barn(inVertical)">
                                      <p:cBhvr>
                                        <p:cTn id="13" dur="500"/>
                                        <p:tgtEl>
                                          <p:spTgt spid="19"/>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barn(inVertical)">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barn(inVertical)">
                                      <p:cBhvr>
                                        <p:cTn id="23" dur="500"/>
                                        <p:tgtEl>
                                          <p:spTgt spid="21"/>
                                        </p:tgtEl>
                                      </p:cBhvr>
                                    </p:animEffect>
                                  </p:childTnLst>
                                </p:cTn>
                              </p:par>
                              <p:par>
                                <p:cTn id="24" presetID="16" presetClass="entr" presetSubtype="21" fill="hold" grpId="0"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barn(inVertical)">
                                      <p:cBhvr>
                                        <p:cTn id="26"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animBg="1"/>
      <p:bldP spid="21" grpId="0" animBg="1"/>
      <p:bldP spid="2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8">
            <a:extLst>
              <a:ext uri="{FF2B5EF4-FFF2-40B4-BE49-F238E27FC236}">
                <a16:creationId xmlns:a16="http://schemas.microsoft.com/office/drawing/2014/main" id="{47571183-A50C-45AD-8B60-146971438FDC}"/>
              </a:ext>
            </a:extLst>
          </p:cNvPr>
          <p:cNvSpPr>
            <a:spLocks noGrp="1"/>
          </p:cNvSpPr>
          <p:nvPr>
            <p:ph type="title"/>
          </p:nvPr>
        </p:nvSpPr>
        <p:spPr>
          <a:xfrm>
            <a:off x="1808438" y="422869"/>
            <a:ext cx="9202382" cy="653805"/>
          </a:xfrm>
        </p:spPr>
        <p:txBody>
          <a:bodyPr>
            <a:noAutofit/>
          </a:bodyPr>
          <a:lstStyle/>
          <a:p>
            <a:pPr algn="ctr"/>
            <a:r>
              <a:rPr lang="en-US" sz="3600"/>
              <a:t>2. Một số thuật ngữ, khái niệm liên quan</a:t>
            </a:r>
            <a:endParaRPr lang="en-US" sz="3600" dirty="0"/>
          </a:p>
        </p:txBody>
      </p:sp>
      <p:pic>
        <p:nvPicPr>
          <p:cNvPr id="11" name="Graphic 10" descr="Table">
            <a:extLst>
              <a:ext uri="{FF2B5EF4-FFF2-40B4-BE49-F238E27FC236}">
                <a16:creationId xmlns:a16="http://schemas.microsoft.com/office/drawing/2014/main" id="{E379AE23-6662-42D2-ADEA-3ECD028B028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2550" y="1694561"/>
            <a:ext cx="1271420" cy="1271420"/>
          </a:xfrm>
          <a:prstGeom prst="rect">
            <a:avLst/>
          </a:prstGeom>
        </p:spPr>
      </p:pic>
      <p:grpSp>
        <p:nvGrpSpPr>
          <p:cNvPr id="14" name="Key9" descr="{&quot;Key&quot;:&quot;POWER_USER_SHAPE_ICON&quot;,&quot;Value&quot;:&quot;POWER_USER_SHAPE_ICON_STYLE_1&quot;}">
            <a:extLst>
              <a:ext uri="{FF2B5EF4-FFF2-40B4-BE49-F238E27FC236}">
                <a16:creationId xmlns:a16="http://schemas.microsoft.com/office/drawing/2014/main" id="{01471CCB-630E-4D33-988E-FC96496A247D}"/>
              </a:ext>
            </a:extLst>
          </p:cNvPr>
          <p:cNvGrpSpPr>
            <a:grpSpLocks noChangeAspect="1"/>
          </p:cNvGrpSpPr>
          <p:nvPr/>
        </p:nvGrpSpPr>
        <p:grpSpPr>
          <a:xfrm>
            <a:off x="915577" y="3561380"/>
            <a:ext cx="955791" cy="914400"/>
            <a:chOff x="3805238" y="1155700"/>
            <a:chExt cx="403225" cy="385763"/>
          </a:xfrm>
          <a:solidFill>
            <a:schemeClr val="accent1"/>
          </a:solidFill>
        </p:grpSpPr>
        <p:sp>
          <p:nvSpPr>
            <p:cNvPr id="15" name="Freeform 34">
              <a:extLst>
                <a:ext uri="{FF2B5EF4-FFF2-40B4-BE49-F238E27FC236}">
                  <a16:creationId xmlns:a16="http://schemas.microsoft.com/office/drawing/2014/main" id="{5ECD4637-663C-43E4-961B-97E359C87474}"/>
                </a:ext>
              </a:extLst>
            </p:cNvPr>
            <p:cNvSpPr>
              <a:spLocks noEditPoints="1"/>
            </p:cNvSpPr>
            <p:nvPr/>
          </p:nvSpPr>
          <p:spPr bwMode="auto">
            <a:xfrm>
              <a:off x="3805238" y="1155700"/>
              <a:ext cx="403225" cy="385763"/>
            </a:xfrm>
            <a:custGeom>
              <a:avLst/>
              <a:gdLst>
                <a:gd name="T0" fmla="*/ 987 w 3161"/>
                <a:gd name="T1" fmla="*/ 1247 h 3007"/>
                <a:gd name="T2" fmla="*/ 444 w 3161"/>
                <a:gd name="T3" fmla="*/ 1431 h 3007"/>
                <a:gd name="T4" fmla="*/ 164 w 3161"/>
                <a:gd name="T5" fmla="*/ 1985 h 3007"/>
                <a:gd name="T6" fmla="*/ 357 w 3161"/>
                <a:gd name="T7" fmla="*/ 2576 h 3007"/>
                <a:gd name="T8" fmla="*/ 981 w 3161"/>
                <a:gd name="T9" fmla="*/ 2862 h 3007"/>
                <a:gd name="T10" fmla="*/ 1505 w 3161"/>
                <a:gd name="T11" fmla="*/ 2670 h 3007"/>
                <a:gd name="T12" fmla="*/ 1777 w 3161"/>
                <a:gd name="T13" fmla="*/ 1896 h 3007"/>
                <a:gd name="T14" fmla="*/ 1801 w 3161"/>
                <a:gd name="T15" fmla="*/ 1828 h 3007"/>
                <a:gd name="T16" fmla="*/ 2024 w 3161"/>
                <a:gd name="T17" fmla="*/ 1638 h 3007"/>
                <a:gd name="T18" fmla="*/ 2038 w 3161"/>
                <a:gd name="T19" fmla="*/ 1294 h 3007"/>
                <a:gd name="T20" fmla="*/ 2109 w 3161"/>
                <a:gd name="T21" fmla="*/ 1225 h 3007"/>
                <a:gd name="T22" fmla="*/ 2328 w 3161"/>
                <a:gd name="T23" fmla="*/ 1219 h 3007"/>
                <a:gd name="T24" fmla="*/ 2335 w 3161"/>
                <a:gd name="T25" fmla="*/ 1015 h 3007"/>
                <a:gd name="T26" fmla="*/ 2358 w 3161"/>
                <a:gd name="T27" fmla="*/ 965 h 3007"/>
                <a:gd name="T28" fmla="*/ 2410 w 3161"/>
                <a:gd name="T29" fmla="*/ 945 h 3007"/>
                <a:gd name="T30" fmla="*/ 2678 w 3161"/>
                <a:gd name="T31" fmla="*/ 957 h 3007"/>
                <a:gd name="T32" fmla="*/ 2699 w 3161"/>
                <a:gd name="T33" fmla="*/ 728 h 3007"/>
                <a:gd name="T34" fmla="*/ 2765 w 3161"/>
                <a:gd name="T35" fmla="*/ 662 h 3007"/>
                <a:gd name="T36" fmla="*/ 3002 w 3161"/>
                <a:gd name="T37" fmla="*/ 642 h 3007"/>
                <a:gd name="T38" fmla="*/ 3013 w 3161"/>
                <a:gd name="T39" fmla="*/ 199 h 3007"/>
                <a:gd name="T40" fmla="*/ 2608 w 3161"/>
                <a:gd name="T41" fmla="*/ 150 h 3007"/>
                <a:gd name="T42" fmla="*/ 1306 w 3161"/>
                <a:gd name="T43" fmla="*/ 1265 h 3007"/>
                <a:gd name="T44" fmla="*/ 1240 w 3161"/>
                <a:gd name="T45" fmla="*/ 1279 h 3007"/>
                <a:gd name="T46" fmla="*/ 987 w 3161"/>
                <a:gd name="T47" fmla="*/ 1247 h 3007"/>
                <a:gd name="T48" fmla="*/ 981 w 3161"/>
                <a:gd name="T49" fmla="*/ 3007 h 3007"/>
                <a:gd name="T50" fmla="*/ 247 w 3161"/>
                <a:gd name="T51" fmla="*/ 2670 h 3007"/>
                <a:gd name="T52" fmla="*/ 19 w 3161"/>
                <a:gd name="T53" fmla="*/ 1974 h 3007"/>
                <a:gd name="T54" fmla="*/ 350 w 3161"/>
                <a:gd name="T55" fmla="*/ 1321 h 3007"/>
                <a:gd name="T56" fmla="*/ 987 w 3161"/>
                <a:gd name="T57" fmla="*/ 1102 h 3007"/>
                <a:gd name="T58" fmla="*/ 1240 w 3161"/>
                <a:gd name="T59" fmla="*/ 1130 h 3007"/>
                <a:gd name="T60" fmla="*/ 2538 w 3161"/>
                <a:gd name="T61" fmla="*/ 19 h 3007"/>
                <a:gd name="T62" fmla="*/ 2594 w 3161"/>
                <a:gd name="T63" fmla="*/ 2 h 3007"/>
                <a:gd name="T64" fmla="*/ 3096 w 3161"/>
                <a:gd name="T65" fmla="*/ 63 h 3007"/>
                <a:gd name="T66" fmla="*/ 3160 w 3161"/>
                <a:gd name="T67" fmla="*/ 137 h 3007"/>
                <a:gd name="T68" fmla="*/ 3145 w 3161"/>
                <a:gd name="T69" fmla="*/ 711 h 3007"/>
                <a:gd name="T70" fmla="*/ 3079 w 3161"/>
                <a:gd name="T71" fmla="*/ 781 h 3007"/>
                <a:gd name="T72" fmla="*/ 2838 w 3161"/>
                <a:gd name="T73" fmla="*/ 802 h 3007"/>
                <a:gd name="T74" fmla="*/ 2815 w 3161"/>
                <a:gd name="T75" fmla="*/ 1039 h 3007"/>
                <a:gd name="T76" fmla="*/ 2740 w 3161"/>
                <a:gd name="T77" fmla="*/ 1105 h 3007"/>
                <a:gd name="T78" fmla="*/ 2477 w 3161"/>
                <a:gd name="T79" fmla="*/ 1093 h 3007"/>
                <a:gd name="T80" fmla="*/ 2470 w 3161"/>
                <a:gd name="T81" fmla="*/ 1293 h 3007"/>
                <a:gd name="T82" fmla="*/ 2400 w 3161"/>
                <a:gd name="T83" fmla="*/ 1363 h 3007"/>
                <a:gd name="T84" fmla="*/ 2180 w 3161"/>
                <a:gd name="T85" fmla="*/ 1368 h 3007"/>
                <a:gd name="T86" fmla="*/ 2167 w 3161"/>
                <a:gd name="T87" fmla="*/ 1675 h 3007"/>
                <a:gd name="T88" fmla="*/ 2142 w 3161"/>
                <a:gd name="T89" fmla="*/ 1727 h 3007"/>
                <a:gd name="T90" fmla="*/ 1925 w 3161"/>
                <a:gd name="T91" fmla="*/ 1913 h 3007"/>
                <a:gd name="T92" fmla="*/ 1599 w 3161"/>
                <a:gd name="T93" fmla="*/ 2780 h 3007"/>
                <a:gd name="T94" fmla="*/ 981 w 3161"/>
                <a:gd name="T95" fmla="*/ 3007 h 3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61" h="3007">
                  <a:moveTo>
                    <a:pt x="987" y="1247"/>
                  </a:moveTo>
                  <a:cubicBezTo>
                    <a:pt x="776" y="1247"/>
                    <a:pt x="583" y="1312"/>
                    <a:pt x="444" y="1431"/>
                  </a:cubicBezTo>
                  <a:cubicBezTo>
                    <a:pt x="280" y="1572"/>
                    <a:pt x="180" y="1768"/>
                    <a:pt x="164" y="1985"/>
                  </a:cubicBezTo>
                  <a:cubicBezTo>
                    <a:pt x="148" y="2201"/>
                    <a:pt x="216" y="2411"/>
                    <a:pt x="357" y="2576"/>
                  </a:cubicBezTo>
                  <a:cubicBezTo>
                    <a:pt x="513" y="2758"/>
                    <a:pt x="740" y="2862"/>
                    <a:pt x="981" y="2862"/>
                  </a:cubicBezTo>
                  <a:cubicBezTo>
                    <a:pt x="1174" y="2862"/>
                    <a:pt x="1360" y="2794"/>
                    <a:pt x="1505" y="2670"/>
                  </a:cubicBezTo>
                  <a:cubicBezTo>
                    <a:pt x="1719" y="2487"/>
                    <a:pt x="1825" y="2183"/>
                    <a:pt x="1777" y="1896"/>
                  </a:cubicBezTo>
                  <a:cubicBezTo>
                    <a:pt x="1772" y="1871"/>
                    <a:pt x="1782" y="1845"/>
                    <a:pt x="1801" y="1828"/>
                  </a:cubicBezTo>
                  <a:lnTo>
                    <a:pt x="2024" y="1638"/>
                  </a:lnTo>
                  <a:lnTo>
                    <a:pt x="2038" y="1294"/>
                  </a:lnTo>
                  <a:cubicBezTo>
                    <a:pt x="2040" y="1256"/>
                    <a:pt x="2070" y="1226"/>
                    <a:pt x="2109" y="1225"/>
                  </a:cubicBezTo>
                  <a:lnTo>
                    <a:pt x="2328" y="1219"/>
                  </a:lnTo>
                  <a:lnTo>
                    <a:pt x="2335" y="1015"/>
                  </a:lnTo>
                  <a:cubicBezTo>
                    <a:pt x="2335" y="996"/>
                    <a:pt x="2344" y="978"/>
                    <a:pt x="2358" y="965"/>
                  </a:cubicBezTo>
                  <a:cubicBezTo>
                    <a:pt x="2372" y="951"/>
                    <a:pt x="2391" y="944"/>
                    <a:pt x="2410" y="945"/>
                  </a:cubicBezTo>
                  <a:lnTo>
                    <a:pt x="2678" y="957"/>
                  </a:lnTo>
                  <a:lnTo>
                    <a:pt x="2699" y="728"/>
                  </a:lnTo>
                  <a:cubicBezTo>
                    <a:pt x="2703" y="693"/>
                    <a:pt x="2730" y="665"/>
                    <a:pt x="2765" y="662"/>
                  </a:cubicBezTo>
                  <a:lnTo>
                    <a:pt x="3002" y="642"/>
                  </a:lnTo>
                  <a:lnTo>
                    <a:pt x="3013" y="199"/>
                  </a:lnTo>
                  <a:lnTo>
                    <a:pt x="2608" y="150"/>
                  </a:lnTo>
                  <a:lnTo>
                    <a:pt x="1306" y="1265"/>
                  </a:lnTo>
                  <a:cubicBezTo>
                    <a:pt x="1288" y="1280"/>
                    <a:pt x="1264" y="1286"/>
                    <a:pt x="1240" y="1279"/>
                  </a:cubicBezTo>
                  <a:cubicBezTo>
                    <a:pt x="1161" y="1258"/>
                    <a:pt x="1073" y="1247"/>
                    <a:pt x="987" y="1247"/>
                  </a:cubicBezTo>
                  <a:close/>
                  <a:moveTo>
                    <a:pt x="981" y="3007"/>
                  </a:moveTo>
                  <a:cubicBezTo>
                    <a:pt x="698" y="3007"/>
                    <a:pt x="430" y="2885"/>
                    <a:pt x="247" y="2670"/>
                  </a:cubicBezTo>
                  <a:cubicBezTo>
                    <a:pt x="81" y="2476"/>
                    <a:pt x="0" y="2229"/>
                    <a:pt x="19" y="1974"/>
                  </a:cubicBezTo>
                  <a:cubicBezTo>
                    <a:pt x="39" y="1719"/>
                    <a:pt x="156" y="1487"/>
                    <a:pt x="350" y="1321"/>
                  </a:cubicBezTo>
                  <a:cubicBezTo>
                    <a:pt x="515" y="1180"/>
                    <a:pt x="741" y="1102"/>
                    <a:pt x="987" y="1102"/>
                  </a:cubicBezTo>
                  <a:cubicBezTo>
                    <a:pt x="1072" y="1102"/>
                    <a:pt x="1159" y="1111"/>
                    <a:pt x="1240" y="1130"/>
                  </a:cubicBezTo>
                  <a:lnTo>
                    <a:pt x="2538" y="19"/>
                  </a:lnTo>
                  <a:cubicBezTo>
                    <a:pt x="2554" y="6"/>
                    <a:pt x="2574" y="0"/>
                    <a:pt x="2594" y="2"/>
                  </a:cubicBezTo>
                  <a:lnTo>
                    <a:pt x="3096" y="63"/>
                  </a:lnTo>
                  <a:cubicBezTo>
                    <a:pt x="3133" y="67"/>
                    <a:pt x="3161" y="99"/>
                    <a:pt x="3160" y="137"/>
                  </a:cubicBezTo>
                  <a:lnTo>
                    <a:pt x="3145" y="711"/>
                  </a:lnTo>
                  <a:cubicBezTo>
                    <a:pt x="3144" y="747"/>
                    <a:pt x="3116" y="778"/>
                    <a:pt x="3079" y="781"/>
                  </a:cubicBezTo>
                  <a:lnTo>
                    <a:pt x="2838" y="802"/>
                  </a:lnTo>
                  <a:lnTo>
                    <a:pt x="2815" y="1039"/>
                  </a:lnTo>
                  <a:cubicBezTo>
                    <a:pt x="2812" y="1078"/>
                    <a:pt x="2779" y="1106"/>
                    <a:pt x="2740" y="1105"/>
                  </a:cubicBezTo>
                  <a:lnTo>
                    <a:pt x="2477" y="1093"/>
                  </a:lnTo>
                  <a:lnTo>
                    <a:pt x="2470" y="1293"/>
                  </a:lnTo>
                  <a:cubicBezTo>
                    <a:pt x="2469" y="1331"/>
                    <a:pt x="2438" y="1362"/>
                    <a:pt x="2400" y="1363"/>
                  </a:cubicBezTo>
                  <a:lnTo>
                    <a:pt x="2180" y="1368"/>
                  </a:lnTo>
                  <a:lnTo>
                    <a:pt x="2167" y="1675"/>
                  </a:lnTo>
                  <a:cubicBezTo>
                    <a:pt x="2167" y="1695"/>
                    <a:pt x="2157" y="1714"/>
                    <a:pt x="2142" y="1727"/>
                  </a:cubicBezTo>
                  <a:lnTo>
                    <a:pt x="1925" y="1913"/>
                  </a:lnTo>
                  <a:cubicBezTo>
                    <a:pt x="1967" y="2241"/>
                    <a:pt x="1844" y="2570"/>
                    <a:pt x="1599" y="2780"/>
                  </a:cubicBezTo>
                  <a:cubicBezTo>
                    <a:pt x="1428" y="2926"/>
                    <a:pt x="1208" y="3007"/>
                    <a:pt x="981" y="3007"/>
                  </a:cubicBezTo>
                </a:path>
              </a:pathLst>
            </a:custGeom>
            <a:solidFill>
              <a:schemeClr val="accent1"/>
            </a:solidFill>
            <a:ln w="38100">
              <a:solidFill>
                <a:srgbClr val="FFC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6" name="Freeform 35">
              <a:extLst>
                <a:ext uri="{FF2B5EF4-FFF2-40B4-BE49-F238E27FC236}">
                  <a16:creationId xmlns:a16="http://schemas.microsoft.com/office/drawing/2014/main" id="{13ADFC87-BBED-4A04-A872-03F401BE5F43}"/>
                </a:ext>
              </a:extLst>
            </p:cNvPr>
            <p:cNvSpPr>
              <a:spLocks noEditPoints="1"/>
            </p:cNvSpPr>
            <p:nvPr/>
          </p:nvSpPr>
          <p:spPr bwMode="auto">
            <a:xfrm>
              <a:off x="3854450" y="1403350"/>
              <a:ext cx="92075" cy="84138"/>
            </a:xfrm>
            <a:custGeom>
              <a:avLst/>
              <a:gdLst>
                <a:gd name="T0" fmla="*/ 365 w 730"/>
                <a:gd name="T1" fmla="*/ 145 h 652"/>
                <a:gd name="T2" fmla="*/ 247 w 730"/>
                <a:gd name="T3" fmla="*/ 189 h 652"/>
                <a:gd name="T4" fmla="*/ 227 w 730"/>
                <a:gd name="T5" fmla="*/ 444 h 652"/>
                <a:gd name="T6" fmla="*/ 365 w 730"/>
                <a:gd name="T7" fmla="*/ 507 h 652"/>
                <a:gd name="T8" fmla="*/ 483 w 730"/>
                <a:gd name="T9" fmla="*/ 464 h 652"/>
                <a:gd name="T10" fmla="*/ 503 w 730"/>
                <a:gd name="T11" fmla="*/ 209 h 652"/>
                <a:gd name="T12" fmla="*/ 365 w 730"/>
                <a:gd name="T13" fmla="*/ 145 h 652"/>
                <a:gd name="T14" fmla="*/ 365 w 730"/>
                <a:gd name="T15" fmla="*/ 652 h 652"/>
                <a:gd name="T16" fmla="*/ 117 w 730"/>
                <a:gd name="T17" fmla="*/ 539 h 652"/>
                <a:gd name="T18" fmla="*/ 153 w 730"/>
                <a:gd name="T19" fmla="*/ 79 h 652"/>
                <a:gd name="T20" fmla="*/ 365 w 730"/>
                <a:gd name="T21" fmla="*/ 0 h 652"/>
                <a:gd name="T22" fmla="*/ 613 w 730"/>
                <a:gd name="T23" fmla="*/ 114 h 652"/>
                <a:gd name="T24" fmla="*/ 577 w 730"/>
                <a:gd name="T25" fmla="*/ 574 h 652"/>
                <a:gd name="T26" fmla="*/ 365 w 730"/>
                <a:gd name="T27" fmla="*/ 65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0" h="652">
                  <a:moveTo>
                    <a:pt x="365" y="145"/>
                  </a:moveTo>
                  <a:cubicBezTo>
                    <a:pt x="322" y="145"/>
                    <a:pt x="280" y="161"/>
                    <a:pt x="247" y="189"/>
                  </a:cubicBezTo>
                  <a:cubicBezTo>
                    <a:pt x="171" y="254"/>
                    <a:pt x="163" y="368"/>
                    <a:pt x="227" y="444"/>
                  </a:cubicBezTo>
                  <a:cubicBezTo>
                    <a:pt x="262" y="484"/>
                    <a:pt x="312" y="507"/>
                    <a:pt x="365" y="507"/>
                  </a:cubicBezTo>
                  <a:cubicBezTo>
                    <a:pt x="408" y="507"/>
                    <a:pt x="450" y="492"/>
                    <a:pt x="483" y="464"/>
                  </a:cubicBezTo>
                  <a:cubicBezTo>
                    <a:pt x="559" y="399"/>
                    <a:pt x="567" y="285"/>
                    <a:pt x="503" y="209"/>
                  </a:cubicBezTo>
                  <a:cubicBezTo>
                    <a:pt x="468" y="168"/>
                    <a:pt x="418" y="145"/>
                    <a:pt x="365" y="145"/>
                  </a:cubicBezTo>
                  <a:close/>
                  <a:moveTo>
                    <a:pt x="365" y="652"/>
                  </a:moveTo>
                  <a:cubicBezTo>
                    <a:pt x="270" y="652"/>
                    <a:pt x="179" y="611"/>
                    <a:pt x="117" y="539"/>
                  </a:cubicBezTo>
                  <a:cubicBezTo>
                    <a:pt x="0" y="402"/>
                    <a:pt x="16" y="196"/>
                    <a:pt x="153" y="79"/>
                  </a:cubicBezTo>
                  <a:cubicBezTo>
                    <a:pt x="212" y="28"/>
                    <a:pt x="287" y="0"/>
                    <a:pt x="365" y="0"/>
                  </a:cubicBezTo>
                  <a:cubicBezTo>
                    <a:pt x="460" y="0"/>
                    <a:pt x="551" y="42"/>
                    <a:pt x="613" y="114"/>
                  </a:cubicBezTo>
                  <a:cubicBezTo>
                    <a:pt x="730" y="251"/>
                    <a:pt x="714" y="457"/>
                    <a:pt x="577" y="574"/>
                  </a:cubicBezTo>
                  <a:cubicBezTo>
                    <a:pt x="518" y="625"/>
                    <a:pt x="443" y="652"/>
                    <a:pt x="365" y="652"/>
                  </a:cubicBezTo>
                </a:path>
              </a:pathLst>
            </a:custGeom>
            <a:solidFill>
              <a:schemeClr val="accent1"/>
            </a:solidFill>
            <a:ln w="38100">
              <a:solidFill>
                <a:srgbClr val="FFC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7" name="Freeform 36">
              <a:extLst>
                <a:ext uri="{FF2B5EF4-FFF2-40B4-BE49-F238E27FC236}">
                  <a16:creationId xmlns:a16="http://schemas.microsoft.com/office/drawing/2014/main" id="{51B61C32-A538-476A-83DF-9158DFF2BA38}"/>
                </a:ext>
              </a:extLst>
            </p:cNvPr>
            <p:cNvSpPr>
              <a:spLocks/>
            </p:cNvSpPr>
            <p:nvPr/>
          </p:nvSpPr>
          <p:spPr bwMode="auto">
            <a:xfrm>
              <a:off x="3994150" y="1177925"/>
              <a:ext cx="207963" cy="179388"/>
            </a:xfrm>
            <a:custGeom>
              <a:avLst/>
              <a:gdLst>
                <a:gd name="T0" fmla="*/ 81 w 1628"/>
                <a:gd name="T1" fmla="*/ 1408 h 1408"/>
                <a:gd name="T2" fmla="*/ 26 w 1628"/>
                <a:gd name="T3" fmla="*/ 1383 h 1408"/>
                <a:gd name="T4" fmla="*/ 34 w 1628"/>
                <a:gd name="T5" fmla="*/ 1281 h 1408"/>
                <a:gd name="T6" fmla="*/ 1500 w 1628"/>
                <a:gd name="T7" fmla="*/ 25 h 1408"/>
                <a:gd name="T8" fmla="*/ 1602 w 1628"/>
                <a:gd name="T9" fmla="*/ 34 h 1408"/>
                <a:gd name="T10" fmla="*/ 1594 w 1628"/>
                <a:gd name="T11" fmla="*/ 135 h 1408"/>
                <a:gd name="T12" fmla="*/ 128 w 1628"/>
                <a:gd name="T13" fmla="*/ 1391 h 1408"/>
                <a:gd name="T14" fmla="*/ 81 w 1628"/>
                <a:gd name="T15" fmla="*/ 1408 h 1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8" h="1408">
                  <a:moveTo>
                    <a:pt x="81" y="1408"/>
                  </a:moveTo>
                  <a:cubicBezTo>
                    <a:pt x="61" y="1408"/>
                    <a:pt x="40" y="1399"/>
                    <a:pt x="26" y="1383"/>
                  </a:cubicBezTo>
                  <a:cubicBezTo>
                    <a:pt x="0" y="1352"/>
                    <a:pt x="4" y="1306"/>
                    <a:pt x="34" y="1281"/>
                  </a:cubicBezTo>
                  <a:lnTo>
                    <a:pt x="1500" y="25"/>
                  </a:lnTo>
                  <a:cubicBezTo>
                    <a:pt x="1530" y="0"/>
                    <a:pt x="1576" y="3"/>
                    <a:pt x="1602" y="34"/>
                  </a:cubicBezTo>
                  <a:cubicBezTo>
                    <a:pt x="1628" y="64"/>
                    <a:pt x="1625" y="110"/>
                    <a:pt x="1594" y="135"/>
                  </a:cubicBezTo>
                  <a:lnTo>
                    <a:pt x="128" y="1391"/>
                  </a:lnTo>
                  <a:cubicBezTo>
                    <a:pt x="115" y="1402"/>
                    <a:pt x="98" y="1408"/>
                    <a:pt x="81" y="1408"/>
                  </a:cubicBezTo>
                  <a:close/>
                </a:path>
              </a:pathLst>
            </a:custGeom>
            <a:solidFill>
              <a:schemeClr val="accent1"/>
            </a:solidFill>
            <a:ln w="38100">
              <a:solidFill>
                <a:srgbClr val="FFC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grpSp>
      <p:grpSp>
        <p:nvGrpSpPr>
          <p:cNvPr id="45" name="Data_management" descr="{&quot;Key&quot;:&quot;POWER_USER_SHAPE_ICON&quot;,&quot;Value&quot;:&quot;POWER_USER_SHAPE_ICON_STYLE_1&quot;}">
            <a:extLst>
              <a:ext uri="{FF2B5EF4-FFF2-40B4-BE49-F238E27FC236}">
                <a16:creationId xmlns:a16="http://schemas.microsoft.com/office/drawing/2014/main" id="{B675F0D0-8EFC-4000-9B92-62C9A924DCF4}"/>
              </a:ext>
            </a:extLst>
          </p:cNvPr>
          <p:cNvGrpSpPr>
            <a:grpSpLocks noChangeAspect="1"/>
          </p:cNvGrpSpPr>
          <p:nvPr/>
        </p:nvGrpSpPr>
        <p:grpSpPr>
          <a:xfrm>
            <a:off x="6021002" y="1764042"/>
            <a:ext cx="1054580" cy="914400"/>
            <a:chOff x="7723188" y="4413251"/>
            <a:chExt cx="776288" cy="673100"/>
          </a:xfrm>
          <a:noFill/>
        </p:grpSpPr>
        <p:sp>
          <p:nvSpPr>
            <p:cNvPr id="46" name="Freeform 425">
              <a:extLst>
                <a:ext uri="{FF2B5EF4-FFF2-40B4-BE49-F238E27FC236}">
                  <a16:creationId xmlns:a16="http://schemas.microsoft.com/office/drawing/2014/main" id="{72278AF1-9B43-4C8A-B622-F5AA553EA107}"/>
                </a:ext>
              </a:extLst>
            </p:cNvPr>
            <p:cNvSpPr>
              <a:spLocks/>
            </p:cNvSpPr>
            <p:nvPr/>
          </p:nvSpPr>
          <p:spPr bwMode="auto">
            <a:xfrm>
              <a:off x="7727951" y="4570413"/>
              <a:ext cx="82550" cy="504825"/>
            </a:xfrm>
            <a:custGeom>
              <a:avLst/>
              <a:gdLst>
                <a:gd name="T0" fmla="*/ 65 w 122"/>
                <a:gd name="T1" fmla="*/ 748 h 748"/>
                <a:gd name="T2" fmla="*/ 65 w 122"/>
                <a:gd name="T3" fmla="*/ 748 h 748"/>
                <a:gd name="T4" fmla="*/ 0 w 122"/>
                <a:gd name="T5" fmla="*/ 683 h 748"/>
                <a:gd name="T6" fmla="*/ 0 w 122"/>
                <a:gd name="T7" fmla="*/ 0 h 748"/>
                <a:gd name="T8" fmla="*/ 122 w 122"/>
                <a:gd name="T9" fmla="*/ 0 h 748"/>
                <a:gd name="T10" fmla="*/ 122 w 122"/>
                <a:gd name="T11" fmla="*/ 691 h 748"/>
                <a:gd name="T12" fmla="*/ 65 w 122"/>
                <a:gd name="T13" fmla="*/ 748 h 748"/>
              </a:gdLst>
              <a:ahLst/>
              <a:cxnLst>
                <a:cxn ang="0">
                  <a:pos x="T0" y="T1"/>
                </a:cxn>
                <a:cxn ang="0">
                  <a:pos x="T2" y="T3"/>
                </a:cxn>
                <a:cxn ang="0">
                  <a:pos x="T4" y="T5"/>
                </a:cxn>
                <a:cxn ang="0">
                  <a:pos x="T6" y="T7"/>
                </a:cxn>
                <a:cxn ang="0">
                  <a:pos x="T8" y="T9"/>
                </a:cxn>
                <a:cxn ang="0">
                  <a:pos x="T10" y="T11"/>
                </a:cxn>
                <a:cxn ang="0">
                  <a:pos x="T12" y="T13"/>
                </a:cxn>
              </a:cxnLst>
              <a:rect l="0" t="0" r="r" b="b"/>
              <a:pathLst>
                <a:path w="122" h="748">
                  <a:moveTo>
                    <a:pt x="65" y="748"/>
                  </a:moveTo>
                  <a:lnTo>
                    <a:pt x="65" y="748"/>
                  </a:lnTo>
                  <a:cubicBezTo>
                    <a:pt x="29" y="748"/>
                    <a:pt x="0" y="719"/>
                    <a:pt x="0" y="683"/>
                  </a:cubicBezTo>
                  <a:lnTo>
                    <a:pt x="0" y="0"/>
                  </a:lnTo>
                  <a:lnTo>
                    <a:pt x="122" y="0"/>
                  </a:lnTo>
                  <a:lnTo>
                    <a:pt x="122" y="691"/>
                  </a:lnTo>
                  <a:cubicBezTo>
                    <a:pt x="122" y="722"/>
                    <a:pt x="96" y="748"/>
                    <a:pt x="65" y="748"/>
                  </a:cubicBezTo>
                  <a:close/>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47" name="Freeform 426">
              <a:extLst>
                <a:ext uri="{FF2B5EF4-FFF2-40B4-BE49-F238E27FC236}">
                  <a16:creationId xmlns:a16="http://schemas.microsoft.com/office/drawing/2014/main" id="{FFCE1938-5162-4AC4-962F-A62CA4C4720C}"/>
                </a:ext>
              </a:extLst>
            </p:cNvPr>
            <p:cNvSpPr>
              <a:spLocks/>
            </p:cNvSpPr>
            <p:nvPr/>
          </p:nvSpPr>
          <p:spPr bwMode="auto">
            <a:xfrm>
              <a:off x="7872413" y="4418013"/>
              <a:ext cx="563563" cy="165100"/>
            </a:xfrm>
            <a:custGeom>
              <a:avLst/>
              <a:gdLst>
                <a:gd name="T0" fmla="*/ 837 w 837"/>
                <a:gd name="T1" fmla="*/ 243 h 243"/>
                <a:gd name="T2" fmla="*/ 300 w 837"/>
                <a:gd name="T3" fmla="*/ 243 h 243"/>
                <a:gd name="T4" fmla="*/ 230 w 837"/>
                <a:gd name="T5" fmla="*/ 146 h 243"/>
                <a:gd name="T6" fmla="*/ 0 w 837"/>
                <a:gd name="T7" fmla="*/ 146 h 243"/>
                <a:gd name="T8" fmla="*/ 0 w 837"/>
                <a:gd name="T9" fmla="*/ 0 h 243"/>
                <a:gd name="T10" fmla="*/ 837 w 837"/>
                <a:gd name="T11" fmla="*/ 0 h 243"/>
                <a:gd name="T12" fmla="*/ 837 w 837"/>
                <a:gd name="T13" fmla="*/ 243 h 243"/>
              </a:gdLst>
              <a:ahLst/>
              <a:cxnLst>
                <a:cxn ang="0">
                  <a:pos x="T0" y="T1"/>
                </a:cxn>
                <a:cxn ang="0">
                  <a:pos x="T2" y="T3"/>
                </a:cxn>
                <a:cxn ang="0">
                  <a:pos x="T4" y="T5"/>
                </a:cxn>
                <a:cxn ang="0">
                  <a:pos x="T6" y="T7"/>
                </a:cxn>
                <a:cxn ang="0">
                  <a:pos x="T8" y="T9"/>
                </a:cxn>
                <a:cxn ang="0">
                  <a:pos x="T10" y="T11"/>
                </a:cxn>
                <a:cxn ang="0">
                  <a:pos x="T12" y="T13"/>
                </a:cxn>
              </a:cxnLst>
              <a:rect l="0" t="0" r="r" b="b"/>
              <a:pathLst>
                <a:path w="837" h="243">
                  <a:moveTo>
                    <a:pt x="837" y="243"/>
                  </a:moveTo>
                  <a:lnTo>
                    <a:pt x="300" y="243"/>
                  </a:lnTo>
                  <a:cubicBezTo>
                    <a:pt x="277" y="210"/>
                    <a:pt x="253" y="178"/>
                    <a:pt x="230" y="146"/>
                  </a:cubicBezTo>
                  <a:cubicBezTo>
                    <a:pt x="154" y="146"/>
                    <a:pt x="77" y="146"/>
                    <a:pt x="0" y="146"/>
                  </a:cubicBezTo>
                  <a:lnTo>
                    <a:pt x="0" y="0"/>
                  </a:lnTo>
                  <a:lnTo>
                    <a:pt x="837" y="0"/>
                  </a:lnTo>
                  <a:lnTo>
                    <a:pt x="837" y="243"/>
                  </a:lnTo>
                  <a:close/>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48" name="Freeform 428">
              <a:extLst>
                <a:ext uri="{FF2B5EF4-FFF2-40B4-BE49-F238E27FC236}">
                  <a16:creationId xmlns:a16="http://schemas.microsoft.com/office/drawing/2014/main" id="{86010A4B-1A52-4344-8378-68F66CC4C62F}"/>
                </a:ext>
              </a:extLst>
            </p:cNvPr>
            <p:cNvSpPr>
              <a:spLocks/>
            </p:cNvSpPr>
            <p:nvPr/>
          </p:nvSpPr>
          <p:spPr bwMode="auto">
            <a:xfrm>
              <a:off x="8023226" y="4991101"/>
              <a:ext cx="187325" cy="95250"/>
            </a:xfrm>
            <a:custGeom>
              <a:avLst/>
              <a:gdLst>
                <a:gd name="T0" fmla="*/ 0 w 280"/>
                <a:gd name="T1" fmla="*/ 140 h 140"/>
                <a:gd name="T2" fmla="*/ 140 w 280"/>
                <a:gd name="T3" fmla="*/ 0 h 140"/>
                <a:gd name="T4" fmla="*/ 280 w 280"/>
                <a:gd name="T5" fmla="*/ 140 h 140"/>
                <a:gd name="T6" fmla="*/ 0 w 280"/>
                <a:gd name="T7" fmla="*/ 140 h 140"/>
              </a:gdLst>
              <a:ahLst/>
              <a:cxnLst>
                <a:cxn ang="0">
                  <a:pos x="T0" y="T1"/>
                </a:cxn>
                <a:cxn ang="0">
                  <a:pos x="T2" y="T3"/>
                </a:cxn>
                <a:cxn ang="0">
                  <a:pos x="T4" y="T5"/>
                </a:cxn>
                <a:cxn ang="0">
                  <a:pos x="T6" y="T7"/>
                </a:cxn>
              </a:cxnLst>
              <a:rect l="0" t="0" r="r" b="b"/>
              <a:pathLst>
                <a:path w="280" h="140">
                  <a:moveTo>
                    <a:pt x="0" y="140"/>
                  </a:moveTo>
                  <a:cubicBezTo>
                    <a:pt x="0" y="63"/>
                    <a:pt x="62" y="0"/>
                    <a:pt x="140" y="0"/>
                  </a:cubicBezTo>
                  <a:cubicBezTo>
                    <a:pt x="217" y="0"/>
                    <a:pt x="280" y="63"/>
                    <a:pt x="280" y="140"/>
                  </a:cubicBezTo>
                  <a:lnTo>
                    <a:pt x="0" y="140"/>
                  </a:lnTo>
                  <a:close/>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49" name="Freeform 429">
              <a:extLst>
                <a:ext uri="{FF2B5EF4-FFF2-40B4-BE49-F238E27FC236}">
                  <a16:creationId xmlns:a16="http://schemas.microsoft.com/office/drawing/2014/main" id="{4DED0CAA-BB15-433D-9501-04937E4FEA21}"/>
                </a:ext>
              </a:extLst>
            </p:cNvPr>
            <p:cNvSpPr>
              <a:spLocks/>
            </p:cNvSpPr>
            <p:nvPr/>
          </p:nvSpPr>
          <p:spPr bwMode="auto">
            <a:xfrm>
              <a:off x="7907338" y="4876801"/>
              <a:ext cx="417513" cy="209550"/>
            </a:xfrm>
            <a:custGeom>
              <a:avLst/>
              <a:gdLst>
                <a:gd name="T0" fmla="*/ 619 w 619"/>
                <a:gd name="T1" fmla="*/ 310 h 310"/>
                <a:gd name="T2" fmla="*/ 619 w 619"/>
                <a:gd name="T3" fmla="*/ 275 h 310"/>
                <a:gd name="T4" fmla="*/ 592 w 619"/>
                <a:gd name="T5" fmla="*/ 248 h 310"/>
                <a:gd name="T6" fmla="*/ 573 w 619"/>
                <a:gd name="T7" fmla="*/ 248 h 310"/>
                <a:gd name="T8" fmla="*/ 544 w 619"/>
                <a:gd name="T9" fmla="*/ 227 h 310"/>
                <a:gd name="T10" fmla="*/ 533 w 619"/>
                <a:gd name="T11" fmla="*/ 202 h 310"/>
                <a:gd name="T12" fmla="*/ 539 w 619"/>
                <a:gd name="T13" fmla="*/ 169 h 310"/>
                <a:gd name="T14" fmla="*/ 552 w 619"/>
                <a:gd name="T15" fmla="*/ 156 h 310"/>
                <a:gd name="T16" fmla="*/ 554 w 619"/>
                <a:gd name="T17" fmla="*/ 116 h 310"/>
                <a:gd name="T18" fmla="*/ 504 w 619"/>
                <a:gd name="T19" fmla="*/ 66 h 310"/>
                <a:gd name="T20" fmla="*/ 465 w 619"/>
                <a:gd name="T21" fmla="*/ 66 h 310"/>
                <a:gd name="T22" fmla="*/ 452 w 619"/>
                <a:gd name="T23" fmla="*/ 80 h 310"/>
                <a:gd name="T24" fmla="*/ 417 w 619"/>
                <a:gd name="T25" fmla="*/ 86 h 310"/>
                <a:gd name="T26" fmla="*/ 392 w 619"/>
                <a:gd name="T27" fmla="*/ 76 h 310"/>
                <a:gd name="T28" fmla="*/ 372 w 619"/>
                <a:gd name="T29" fmla="*/ 47 h 310"/>
                <a:gd name="T30" fmla="*/ 372 w 619"/>
                <a:gd name="T31" fmla="*/ 28 h 310"/>
                <a:gd name="T32" fmla="*/ 345 w 619"/>
                <a:gd name="T33" fmla="*/ 0 h 310"/>
                <a:gd name="T34" fmla="*/ 275 w 619"/>
                <a:gd name="T35" fmla="*/ 0 h 310"/>
                <a:gd name="T36" fmla="*/ 247 w 619"/>
                <a:gd name="T37" fmla="*/ 28 h 310"/>
                <a:gd name="T38" fmla="*/ 247 w 619"/>
                <a:gd name="T39" fmla="*/ 47 h 310"/>
                <a:gd name="T40" fmla="*/ 227 w 619"/>
                <a:gd name="T41" fmla="*/ 76 h 310"/>
                <a:gd name="T42" fmla="*/ 202 w 619"/>
                <a:gd name="T43" fmla="*/ 86 h 310"/>
                <a:gd name="T44" fmla="*/ 169 w 619"/>
                <a:gd name="T45" fmla="*/ 81 h 310"/>
                <a:gd name="T46" fmla="*/ 156 w 619"/>
                <a:gd name="T47" fmla="*/ 68 h 310"/>
                <a:gd name="T48" fmla="*/ 116 w 619"/>
                <a:gd name="T49" fmla="*/ 66 h 310"/>
                <a:gd name="T50" fmla="*/ 66 w 619"/>
                <a:gd name="T51" fmla="*/ 116 h 310"/>
                <a:gd name="T52" fmla="*/ 66 w 619"/>
                <a:gd name="T53" fmla="*/ 154 h 310"/>
                <a:gd name="T54" fmla="*/ 80 w 619"/>
                <a:gd name="T55" fmla="*/ 168 h 310"/>
                <a:gd name="T56" fmla="*/ 86 w 619"/>
                <a:gd name="T57" fmla="*/ 203 h 310"/>
                <a:gd name="T58" fmla="*/ 76 w 619"/>
                <a:gd name="T59" fmla="*/ 228 h 310"/>
                <a:gd name="T60" fmla="*/ 48 w 619"/>
                <a:gd name="T61" fmla="*/ 248 h 310"/>
                <a:gd name="T62" fmla="*/ 30 w 619"/>
                <a:gd name="T63" fmla="*/ 248 h 310"/>
                <a:gd name="T64" fmla="*/ 0 w 619"/>
                <a:gd name="T65" fmla="*/ 275 h 310"/>
                <a:gd name="T66" fmla="*/ 0 w 619"/>
                <a:gd name="T6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9" h="310">
                  <a:moveTo>
                    <a:pt x="619" y="310"/>
                  </a:moveTo>
                  <a:lnTo>
                    <a:pt x="619" y="275"/>
                  </a:lnTo>
                  <a:cubicBezTo>
                    <a:pt x="619" y="260"/>
                    <a:pt x="607" y="248"/>
                    <a:pt x="592" y="248"/>
                  </a:cubicBezTo>
                  <a:lnTo>
                    <a:pt x="573" y="248"/>
                  </a:lnTo>
                  <a:cubicBezTo>
                    <a:pt x="560" y="248"/>
                    <a:pt x="548" y="240"/>
                    <a:pt x="544" y="227"/>
                  </a:cubicBezTo>
                  <a:cubicBezTo>
                    <a:pt x="541" y="219"/>
                    <a:pt x="537" y="210"/>
                    <a:pt x="533" y="202"/>
                  </a:cubicBezTo>
                  <a:cubicBezTo>
                    <a:pt x="528" y="191"/>
                    <a:pt x="530" y="178"/>
                    <a:pt x="539" y="169"/>
                  </a:cubicBezTo>
                  <a:lnTo>
                    <a:pt x="552" y="156"/>
                  </a:lnTo>
                  <a:cubicBezTo>
                    <a:pt x="564" y="144"/>
                    <a:pt x="564" y="127"/>
                    <a:pt x="554" y="116"/>
                  </a:cubicBezTo>
                  <a:lnTo>
                    <a:pt x="504" y="66"/>
                  </a:lnTo>
                  <a:cubicBezTo>
                    <a:pt x="493" y="56"/>
                    <a:pt x="476" y="56"/>
                    <a:pt x="465" y="66"/>
                  </a:cubicBezTo>
                  <a:lnTo>
                    <a:pt x="452" y="80"/>
                  </a:lnTo>
                  <a:cubicBezTo>
                    <a:pt x="442" y="89"/>
                    <a:pt x="429" y="92"/>
                    <a:pt x="417" y="86"/>
                  </a:cubicBezTo>
                  <a:cubicBezTo>
                    <a:pt x="409" y="82"/>
                    <a:pt x="401" y="79"/>
                    <a:pt x="392" y="76"/>
                  </a:cubicBezTo>
                  <a:cubicBezTo>
                    <a:pt x="380" y="72"/>
                    <a:pt x="372" y="60"/>
                    <a:pt x="372" y="47"/>
                  </a:cubicBezTo>
                  <a:lnTo>
                    <a:pt x="372" y="28"/>
                  </a:lnTo>
                  <a:cubicBezTo>
                    <a:pt x="372" y="13"/>
                    <a:pt x="360" y="0"/>
                    <a:pt x="345" y="0"/>
                  </a:cubicBezTo>
                  <a:lnTo>
                    <a:pt x="275" y="0"/>
                  </a:lnTo>
                  <a:cubicBezTo>
                    <a:pt x="260" y="0"/>
                    <a:pt x="247" y="13"/>
                    <a:pt x="247" y="28"/>
                  </a:cubicBezTo>
                  <a:lnTo>
                    <a:pt x="247" y="47"/>
                  </a:lnTo>
                  <a:cubicBezTo>
                    <a:pt x="247" y="60"/>
                    <a:pt x="239" y="72"/>
                    <a:pt x="227" y="76"/>
                  </a:cubicBezTo>
                  <a:cubicBezTo>
                    <a:pt x="219" y="79"/>
                    <a:pt x="210" y="83"/>
                    <a:pt x="202" y="86"/>
                  </a:cubicBezTo>
                  <a:cubicBezTo>
                    <a:pt x="191" y="92"/>
                    <a:pt x="177" y="89"/>
                    <a:pt x="169" y="81"/>
                  </a:cubicBezTo>
                  <a:lnTo>
                    <a:pt x="156" y="68"/>
                  </a:lnTo>
                  <a:cubicBezTo>
                    <a:pt x="144" y="56"/>
                    <a:pt x="126" y="56"/>
                    <a:pt x="116" y="66"/>
                  </a:cubicBezTo>
                  <a:lnTo>
                    <a:pt x="66" y="116"/>
                  </a:lnTo>
                  <a:cubicBezTo>
                    <a:pt x="55" y="127"/>
                    <a:pt x="55" y="144"/>
                    <a:pt x="66" y="154"/>
                  </a:cubicBezTo>
                  <a:lnTo>
                    <a:pt x="80" y="168"/>
                  </a:lnTo>
                  <a:cubicBezTo>
                    <a:pt x="89" y="177"/>
                    <a:pt x="92" y="191"/>
                    <a:pt x="86" y="203"/>
                  </a:cubicBezTo>
                  <a:cubicBezTo>
                    <a:pt x="82" y="211"/>
                    <a:pt x="79" y="220"/>
                    <a:pt x="76" y="228"/>
                  </a:cubicBezTo>
                  <a:cubicBezTo>
                    <a:pt x="72" y="240"/>
                    <a:pt x="60" y="248"/>
                    <a:pt x="48" y="248"/>
                  </a:cubicBezTo>
                  <a:lnTo>
                    <a:pt x="30" y="248"/>
                  </a:lnTo>
                  <a:cubicBezTo>
                    <a:pt x="12" y="248"/>
                    <a:pt x="0" y="260"/>
                    <a:pt x="0" y="275"/>
                  </a:cubicBezTo>
                  <a:lnTo>
                    <a:pt x="0" y="310"/>
                  </a:lnTo>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50" name="Freeform 430">
              <a:extLst>
                <a:ext uri="{FF2B5EF4-FFF2-40B4-BE49-F238E27FC236}">
                  <a16:creationId xmlns:a16="http://schemas.microsoft.com/office/drawing/2014/main" id="{A78E9CE8-9AE4-439E-A9FB-7F128EB94B24}"/>
                </a:ext>
              </a:extLst>
            </p:cNvPr>
            <p:cNvSpPr>
              <a:spLocks/>
            </p:cNvSpPr>
            <p:nvPr/>
          </p:nvSpPr>
          <p:spPr bwMode="auto">
            <a:xfrm>
              <a:off x="8023226" y="4991101"/>
              <a:ext cx="187325" cy="95250"/>
            </a:xfrm>
            <a:custGeom>
              <a:avLst/>
              <a:gdLst>
                <a:gd name="T0" fmla="*/ 0 w 280"/>
                <a:gd name="T1" fmla="*/ 140 h 140"/>
                <a:gd name="T2" fmla="*/ 140 w 280"/>
                <a:gd name="T3" fmla="*/ 0 h 140"/>
                <a:gd name="T4" fmla="*/ 280 w 280"/>
                <a:gd name="T5" fmla="*/ 140 h 140"/>
                <a:gd name="T6" fmla="*/ 0 w 280"/>
                <a:gd name="T7" fmla="*/ 140 h 140"/>
              </a:gdLst>
              <a:ahLst/>
              <a:cxnLst>
                <a:cxn ang="0">
                  <a:pos x="T0" y="T1"/>
                </a:cxn>
                <a:cxn ang="0">
                  <a:pos x="T2" y="T3"/>
                </a:cxn>
                <a:cxn ang="0">
                  <a:pos x="T4" y="T5"/>
                </a:cxn>
                <a:cxn ang="0">
                  <a:pos x="T6" y="T7"/>
                </a:cxn>
              </a:cxnLst>
              <a:rect l="0" t="0" r="r" b="b"/>
              <a:pathLst>
                <a:path w="280" h="140">
                  <a:moveTo>
                    <a:pt x="0" y="140"/>
                  </a:moveTo>
                  <a:cubicBezTo>
                    <a:pt x="0" y="63"/>
                    <a:pt x="62" y="0"/>
                    <a:pt x="140" y="0"/>
                  </a:cubicBezTo>
                  <a:cubicBezTo>
                    <a:pt x="217" y="0"/>
                    <a:pt x="280" y="63"/>
                    <a:pt x="280" y="140"/>
                  </a:cubicBezTo>
                  <a:lnTo>
                    <a:pt x="0" y="140"/>
                  </a:lnTo>
                  <a:close/>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51" name="Freeform 431">
              <a:extLst>
                <a:ext uri="{FF2B5EF4-FFF2-40B4-BE49-F238E27FC236}">
                  <a16:creationId xmlns:a16="http://schemas.microsoft.com/office/drawing/2014/main" id="{B632F569-BEF7-40C6-A45A-63E16DAEBD77}"/>
                </a:ext>
              </a:extLst>
            </p:cNvPr>
            <p:cNvSpPr>
              <a:spLocks/>
            </p:cNvSpPr>
            <p:nvPr/>
          </p:nvSpPr>
          <p:spPr bwMode="auto">
            <a:xfrm>
              <a:off x="8291513" y="4643438"/>
              <a:ext cx="207963" cy="419100"/>
            </a:xfrm>
            <a:custGeom>
              <a:avLst/>
              <a:gdLst>
                <a:gd name="T0" fmla="*/ 309 w 309"/>
                <a:gd name="T1" fmla="*/ 0 h 619"/>
                <a:gd name="T2" fmla="*/ 274 w 309"/>
                <a:gd name="T3" fmla="*/ 0 h 619"/>
                <a:gd name="T4" fmla="*/ 247 w 309"/>
                <a:gd name="T5" fmla="*/ 27 h 619"/>
                <a:gd name="T6" fmla="*/ 247 w 309"/>
                <a:gd name="T7" fmla="*/ 47 h 619"/>
                <a:gd name="T8" fmla="*/ 227 w 309"/>
                <a:gd name="T9" fmla="*/ 76 h 619"/>
                <a:gd name="T10" fmla="*/ 201 w 309"/>
                <a:gd name="T11" fmla="*/ 86 h 619"/>
                <a:gd name="T12" fmla="*/ 168 w 309"/>
                <a:gd name="T13" fmla="*/ 80 h 619"/>
                <a:gd name="T14" fmla="*/ 156 w 309"/>
                <a:gd name="T15" fmla="*/ 68 h 619"/>
                <a:gd name="T16" fmla="*/ 115 w 309"/>
                <a:gd name="T17" fmla="*/ 66 h 619"/>
                <a:gd name="T18" fmla="*/ 66 w 309"/>
                <a:gd name="T19" fmla="*/ 116 h 619"/>
                <a:gd name="T20" fmla="*/ 66 w 309"/>
                <a:gd name="T21" fmla="*/ 154 h 619"/>
                <a:gd name="T22" fmla="*/ 79 w 309"/>
                <a:gd name="T23" fmla="*/ 168 h 619"/>
                <a:gd name="T24" fmla="*/ 85 w 309"/>
                <a:gd name="T25" fmla="*/ 203 h 619"/>
                <a:gd name="T26" fmla="*/ 75 w 309"/>
                <a:gd name="T27" fmla="*/ 227 h 619"/>
                <a:gd name="T28" fmla="*/ 46 w 309"/>
                <a:gd name="T29" fmla="*/ 247 h 619"/>
                <a:gd name="T30" fmla="*/ 27 w 309"/>
                <a:gd name="T31" fmla="*/ 247 h 619"/>
                <a:gd name="T32" fmla="*/ 0 w 309"/>
                <a:gd name="T33" fmla="*/ 274 h 619"/>
                <a:gd name="T34" fmla="*/ 0 w 309"/>
                <a:gd name="T35" fmla="*/ 345 h 619"/>
                <a:gd name="T36" fmla="*/ 27 w 309"/>
                <a:gd name="T37" fmla="*/ 372 h 619"/>
                <a:gd name="T38" fmla="*/ 46 w 309"/>
                <a:gd name="T39" fmla="*/ 372 h 619"/>
                <a:gd name="T40" fmla="*/ 75 w 309"/>
                <a:gd name="T41" fmla="*/ 392 h 619"/>
                <a:gd name="T42" fmla="*/ 86 w 309"/>
                <a:gd name="T43" fmla="*/ 418 h 619"/>
                <a:gd name="T44" fmla="*/ 80 w 309"/>
                <a:gd name="T45" fmla="*/ 451 h 619"/>
                <a:gd name="T46" fmla="*/ 67 w 309"/>
                <a:gd name="T47" fmla="*/ 463 h 619"/>
                <a:gd name="T48" fmla="*/ 66 w 309"/>
                <a:gd name="T49" fmla="*/ 504 h 619"/>
                <a:gd name="T50" fmla="*/ 115 w 309"/>
                <a:gd name="T51" fmla="*/ 553 h 619"/>
                <a:gd name="T52" fmla="*/ 154 w 309"/>
                <a:gd name="T53" fmla="*/ 553 h 619"/>
                <a:gd name="T54" fmla="*/ 167 w 309"/>
                <a:gd name="T55" fmla="*/ 540 h 619"/>
                <a:gd name="T56" fmla="*/ 202 w 309"/>
                <a:gd name="T57" fmla="*/ 533 h 619"/>
                <a:gd name="T58" fmla="*/ 228 w 309"/>
                <a:gd name="T59" fmla="*/ 544 h 619"/>
                <a:gd name="T60" fmla="*/ 247 w 309"/>
                <a:gd name="T61" fmla="*/ 572 h 619"/>
                <a:gd name="T62" fmla="*/ 247 w 309"/>
                <a:gd name="T63" fmla="*/ 589 h 619"/>
                <a:gd name="T64" fmla="*/ 274 w 309"/>
                <a:gd name="T65" fmla="*/ 619 h 619"/>
                <a:gd name="T66" fmla="*/ 309 w 309"/>
                <a:gd name="T67" fmla="*/ 619 h 619"/>
                <a:gd name="T68" fmla="*/ 309 w 309"/>
                <a:gd name="T69"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9" h="619">
                  <a:moveTo>
                    <a:pt x="309" y="0"/>
                  </a:moveTo>
                  <a:lnTo>
                    <a:pt x="274" y="0"/>
                  </a:lnTo>
                  <a:cubicBezTo>
                    <a:pt x="259" y="0"/>
                    <a:pt x="247" y="12"/>
                    <a:pt x="247" y="27"/>
                  </a:cubicBezTo>
                  <a:lnTo>
                    <a:pt x="247" y="47"/>
                  </a:lnTo>
                  <a:cubicBezTo>
                    <a:pt x="247" y="60"/>
                    <a:pt x="239" y="71"/>
                    <a:pt x="227" y="76"/>
                  </a:cubicBezTo>
                  <a:cubicBezTo>
                    <a:pt x="218" y="79"/>
                    <a:pt x="210" y="82"/>
                    <a:pt x="201" y="86"/>
                  </a:cubicBezTo>
                  <a:cubicBezTo>
                    <a:pt x="190" y="92"/>
                    <a:pt x="177" y="89"/>
                    <a:pt x="168" y="80"/>
                  </a:cubicBezTo>
                  <a:lnTo>
                    <a:pt x="156" y="68"/>
                  </a:lnTo>
                  <a:cubicBezTo>
                    <a:pt x="143" y="55"/>
                    <a:pt x="126" y="55"/>
                    <a:pt x="115" y="66"/>
                  </a:cubicBezTo>
                  <a:lnTo>
                    <a:pt x="66" y="116"/>
                  </a:lnTo>
                  <a:cubicBezTo>
                    <a:pt x="55" y="126"/>
                    <a:pt x="55" y="143"/>
                    <a:pt x="66" y="154"/>
                  </a:cubicBezTo>
                  <a:lnTo>
                    <a:pt x="79" y="168"/>
                  </a:lnTo>
                  <a:cubicBezTo>
                    <a:pt x="88" y="177"/>
                    <a:pt x="91" y="191"/>
                    <a:pt x="85" y="203"/>
                  </a:cubicBezTo>
                  <a:cubicBezTo>
                    <a:pt x="82" y="211"/>
                    <a:pt x="78" y="219"/>
                    <a:pt x="75" y="227"/>
                  </a:cubicBezTo>
                  <a:cubicBezTo>
                    <a:pt x="71" y="239"/>
                    <a:pt x="59" y="247"/>
                    <a:pt x="46" y="247"/>
                  </a:cubicBezTo>
                  <a:lnTo>
                    <a:pt x="27" y="247"/>
                  </a:lnTo>
                  <a:cubicBezTo>
                    <a:pt x="12" y="247"/>
                    <a:pt x="0" y="259"/>
                    <a:pt x="0" y="274"/>
                  </a:cubicBezTo>
                  <a:lnTo>
                    <a:pt x="0" y="345"/>
                  </a:lnTo>
                  <a:cubicBezTo>
                    <a:pt x="0" y="360"/>
                    <a:pt x="12" y="372"/>
                    <a:pt x="27" y="372"/>
                  </a:cubicBezTo>
                  <a:lnTo>
                    <a:pt x="46" y="372"/>
                  </a:lnTo>
                  <a:cubicBezTo>
                    <a:pt x="59" y="372"/>
                    <a:pt x="71" y="380"/>
                    <a:pt x="75" y="392"/>
                  </a:cubicBezTo>
                  <a:cubicBezTo>
                    <a:pt x="78" y="401"/>
                    <a:pt x="82" y="409"/>
                    <a:pt x="86" y="418"/>
                  </a:cubicBezTo>
                  <a:cubicBezTo>
                    <a:pt x="91" y="429"/>
                    <a:pt x="89" y="442"/>
                    <a:pt x="80" y="451"/>
                  </a:cubicBezTo>
                  <a:lnTo>
                    <a:pt x="67" y="463"/>
                  </a:lnTo>
                  <a:cubicBezTo>
                    <a:pt x="55" y="476"/>
                    <a:pt x="55" y="493"/>
                    <a:pt x="66" y="504"/>
                  </a:cubicBezTo>
                  <a:lnTo>
                    <a:pt x="115" y="553"/>
                  </a:lnTo>
                  <a:cubicBezTo>
                    <a:pt x="126" y="564"/>
                    <a:pt x="143" y="564"/>
                    <a:pt x="154" y="553"/>
                  </a:cubicBezTo>
                  <a:lnTo>
                    <a:pt x="167" y="540"/>
                  </a:lnTo>
                  <a:cubicBezTo>
                    <a:pt x="177" y="531"/>
                    <a:pt x="191" y="528"/>
                    <a:pt x="202" y="533"/>
                  </a:cubicBezTo>
                  <a:cubicBezTo>
                    <a:pt x="211" y="537"/>
                    <a:pt x="219" y="541"/>
                    <a:pt x="228" y="544"/>
                  </a:cubicBezTo>
                  <a:cubicBezTo>
                    <a:pt x="239" y="548"/>
                    <a:pt x="247" y="559"/>
                    <a:pt x="247" y="572"/>
                  </a:cubicBezTo>
                  <a:lnTo>
                    <a:pt x="247" y="589"/>
                  </a:lnTo>
                  <a:cubicBezTo>
                    <a:pt x="247" y="607"/>
                    <a:pt x="259" y="619"/>
                    <a:pt x="274" y="619"/>
                  </a:cubicBezTo>
                  <a:lnTo>
                    <a:pt x="309" y="619"/>
                  </a:lnTo>
                  <a:lnTo>
                    <a:pt x="309" y="0"/>
                  </a:lnTo>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52" name="Freeform 432">
              <a:extLst>
                <a:ext uri="{FF2B5EF4-FFF2-40B4-BE49-F238E27FC236}">
                  <a16:creationId xmlns:a16="http://schemas.microsoft.com/office/drawing/2014/main" id="{A50F54E1-9775-4ACF-AD89-3A269C023A6E}"/>
                </a:ext>
              </a:extLst>
            </p:cNvPr>
            <p:cNvSpPr>
              <a:spLocks/>
            </p:cNvSpPr>
            <p:nvPr/>
          </p:nvSpPr>
          <p:spPr bwMode="auto">
            <a:xfrm>
              <a:off x="8404226" y="4759326"/>
              <a:ext cx="95250" cy="188913"/>
            </a:xfrm>
            <a:custGeom>
              <a:avLst/>
              <a:gdLst>
                <a:gd name="T0" fmla="*/ 140 w 140"/>
                <a:gd name="T1" fmla="*/ 280 h 280"/>
                <a:gd name="T2" fmla="*/ 0 w 140"/>
                <a:gd name="T3" fmla="*/ 140 h 280"/>
                <a:gd name="T4" fmla="*/ 140 w 140"/>
                <a:gd name="T5" fmla="*/ 0 h 280"/>
                <a:gd name="T6" fmla="*/ 140 w 140"/>
                <a:gd name="T7" fmla="*/ 280 h 280"/>
              </a:gdLst>
              <a:ahLst/>
              <a:cxnLst>
                <a:cxn ang="0">
                  <a:pos x="T0" y="T1"/>
                </a:cxn>
                <a:cxn ang="0">
                  <a:pos x="T2" y="T3"/>
                </a:cxn>
                <a:cxn ang="0">
                  <a:pos x="T4" y="T5"/>
                </a:cxn>
                <a:cxn ang="0">
                  <a:pos x="T6" y="T7"/>
                </a:cxn>
              </a:cxnLst>
              <a:rect l="0" t="0" r="r" b="b"/>
              <a:pathLst>
                <a:path w="140" h="280">
                  <a:moveTo>
                    <a:pt x="140" y="280"/>
                  </a:moveTo>
                  <a:cubicBezTo>
                    <a:pt x="63" y="280"/>
                    <a:pt x="0" y="217"/>
                    <a:pt x="0" y="140"/>
                  </a:cubicBezTo>
                  <a:cubicBezTo>
                    <a:pt x="0" y="62"/>
                    <a:pt x="63" y="0"/>
                    <a:pt x="140" y="0"/>
                  </a:cubicBezTo>
                  <a:lnTo>
                    <a:pt x="140" y="280"/>
                  </a:lnTo>
                  <a:close/>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53" name="Freeform 433">
              <a:extLst>
                <a:ext uri="{FF2B5EF4-FFF2-40B4-BE49-F238E27FC236}">
                  <a16:creationId xmlns:a16="http://schemas.microsoft.com/office/drawing/2014/main" id="{23F267C6-3D9A-44BC-A1CF-0DE6E35C60E4}"/>
                </a:ext>
              </a:extLst>
            </p:cNvPr>
            <p:cNvSpPr>
              <a:spLocks/>
            </p:cNvSpPr>
            <p:nvPr/>
          </p:nvSpPr>
          <p:spPr bwMode="auto">
            <a:xfrm>
              <a:off x="8399463" y="4752976"/>
              <a:ext cx="100013" cy="200025"/>
            </a:xfrm>
            <a:custGeom>
              <a:avLst/>
              <a:gdLst>
                <a:gd name="T0" fmla="*/ 148 w 148"/>
                <a:gd name="T1" fmla="*/ 297 h 297"/>
                <a:gd name="T2" fmla="*/ 0 w 148"/>
                <a:gd name="T3" fmla="*/ 149 h 297"/>
                <a:gd name="T4" fmla="*/ 148 w 148"/>
                <a:gd name="T5" fmla="*/ 0 h 297"/>
                <a:gd name="T6" fmla="*/ 148 w 148"/>
                <a:gd name="T7" fmla="*/ 17 h 297"/>
                <a:gd name="T8" fmla="*/ 17 w 148"/>
                <a:gd name="T9" fmla="*/ 149 h 297"/>
                <a:gd name="T10" fmla="*/ 148 w 148"/>
                <a:gd name="T11" fmla="*/ 280 h 297"/>
                <a:gd name="T12" fmla="*/ 148 w 148"/>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48" h="297">
                  <a:moveTo>
                    <a:pt x="148" y="297"/>
                  </a:moveTo>
                  <a:cubicBezTo>
                    <a:pt x="66" y="297"/>
                    <a:pt x="0" y="230"/>
                    <a:pt x="0" y="149"/>
                  </a:cubicBezTo>
                  <a:cubicBezTo>
                    <a:pt x="0" y="67"/>
                    <a:pt x="66" y="0"/>
                    <a:pt x="148" y="0"/>
                  </a:cubicBezTo>
                  <a:lnTo>
                    <a:pt x="148" y="17"/>
                  </a:lnTo>
                  <a:cubicBezTo>
                    <a:pt x="76" y="17"/>
                    <a:pt x="17" y="76"/>
                    <a:pt x="17" y="149"/>
                  </a:cubicBezTo>
                  <a:cubicBezTo>
                    <a:pt x="17" y="221"/>
                    <a:pt x="76" y="280"/>
                    <a:pt x="148" y="280"/>
                  </a:cubicBezTo>
                  <a:lnTo>
                    <a:pt x="148" y="297"/>
                  </a:lnTo>
                  <a:close/>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54" name="Freeform 434">
              <a:extLst>
                <a:ext uri="{FF2B5EF4-FFF2-40B4-BE49-F238E27FC236}">
                  <a16:creationId xmlns:a16="http://schemas.microsoft.com/office/drawing/2014/main" id="{6D9801CB-2CC1-4B01-B546-E9958B9B7D4F}"/>
                </a:ext>
              </a:extLst>
            </p:cNvPr>
            <p:cNvSpPr>
              <a:spLocks/>
            </p:cNvSpPr>
            <p:nvPr/>
          </p:nvSpPr>
          <p:spPr bwMode="auto">
            <a:xfrm>
              <a:off x="8285163" y="4638676"/>
              <a:ext cx="214313" cy="430213"/>
            </a:xfrm>
            <a:custGeom>
              <a:avLst/>
              <a:gdLst>
                <a:gd name="T0" fmla="*/ 283 w 318"/>
                <a:gd name="T1" fmla="*/ 636 h 636"/>
                <a:gd name="T2" fmla="*/ 248 w 318"/>
                <a:gd name="T3" fmla="*/ 580 h 636"/>
                <a:gd name="T4" fmla="*/ 208 w 318"/>
                <a:gd name="T5" fmla="*/ 549 h 636"/>
                <a:gd name="T6" fmla="*/ 169 w 318"/>
                <a:gd name="T7" fmla="*/ 567 h 636"/>
                <a:gd name="T8" fmla="*/ 69 w 318"/>
                <a:gd name="T9" fmla="*/ 518 h 636"/>
                <a:gd name="T10" fmla="*/ 83 w 318"/>
                <a:gd name="T11" fmla="*/ 453 h 636"/>
                <a:gd name="T12" fmla="*/ 77 w 318"/>
                <a:gd name="T13" fmla="*/ 403 h 636"/>
                <a:gd name="T14" fmla="*/ 36 w 318"/>
                <a:gd name="T15" fmla="*/ 388 h 636"/>
                <a:gd name="T16" fmla="*/ 0 w 318"/>
                <a:gd name="T17" fmla="*/ 282 h 636"/>
                <a:gd name="T18" fmla="*/ 55 w 318"/>
                <a:gd name="T19" fmla="*/ 247 h 636"/>
                <a:gd name="T20" fmla="*/ 87 w 318"/>
                <a:gd name="T21" fmla="*/ 207 h 636"/>
                <a:gd name="T22" fmla="*/ 69 w 318"/>
                <a:gd name="T23" fmla="*/ 168 h 636"/>
                <a:gd name="T24" fmla="*/ 69 w 318"/>
                <a:gd name="T25" fmla="*/ 118 h 636"/>
                <a:gd name="T26" fmla="*/ 144 w 318"/>
                <a:gd name="T27" fmla="*/ 58 h 636"/>
                <a:gd name="T28" fmla="*/ 183 w 318"/>
                <a:gd name="T29" fmla="*/ 82 h 636"/>
                <a:gd name="T30" fmla="*/ 233 w 318"/>
                <a:gd name="T31" fmla="*/ 76 h 636"/>
                <a:gd name="T32" fmla="*/ 248 w 318"/>
                <a:gd name="T33" fmla="*/ 35 h 636"/>
                <a:gd name="T34" fmla="*/ 318 w 318"/>
                <a:gd name="T35" fmla="*/ 0 h 636"/>
                <a:gd name="T36" fmla="*/ 283 w 318"/>
                <a:gd name="T37" fmla="*/ 16 h 636"/>
                <a:gd name="T38" fmla="*/ 264 w 318"/>
                <a:gd name="T39" fmla="*/ 55 h 636"/>
                <a:gd name="T40" fmla="*/ 214 w 318"/>
                <a:gd name="T41" fmla="*/ 102 h 636"/>
                <a:gd name="T42" fmla="*/ 159 w 318"/>
                <a:gd name="T43" fmla="*/ 82 h 636"/>
                <a:gd name="T44" fmla="*/ 130 w 318"/>
                <a:gd name="T45" fmla="*/ 80 h 636"/>
                <a:gd name="T46" fmla="*/ 75 w 318"/>
                <a:gd name="T47" fmla="*/ 143 h 636"/>
                <a:gd name="T48" fmla="*/ 94 w 318"/>
                <a:gd name="T49" fmla="*/ 170 h 636"/>
                <a:gd name="T50" fmla="*/ 92 w 318"/>
                <a:gd name="T51" fmla="*/ 238 h 636"/>
                <a:gd name="T52" fmla="*/ 36 w 318"/>
                <a:gd name="T53" fmla="*/ 264 h 636"/>
                <a:gd name="T54" fmla="*/ 17 w 318"/>
                <a:gd name="T55" fmla="*/ 353 h 636"/>
                <a:gd name="T56" fmla="*/ 55 w 318"/>
                <a:gd name="T57" fmla="*/ 372 h 636"/>
                <a:gd name="T58" fmla="*/ 102 w 318"/>
                <a:gd name="T59" fmla="*/ 422 h 636"/>
                <a:gd name="T60" fmla="*/ 82 w 318"/>
                <a:gd name="T61" fmla="*/ 477 h 636"/>
                <a:gd name="T62" fmla="*/ 130 w 318"/>
                <a:gd name="T63" fmla="*/ 556 h 636"/>
                <a:gd name="T64" fmla="*/ 171 w 318"/>
                <a:gd name="T65" fmla="*/ 542 h 636"/>
                <a:gd name="T66" fmla="*/ 239 w 318"/>
                <a:gd name="T67" fmla="*/ 544 h 636"/>
                <a:gd name="T68" fmla="*/ 264 w 318"/>
                <a:gd name="T69" fmla="*/ 597 h 636"/>
                <a:gd name="T70" fmla="*/ 318 w 318"/>
                <a:gd name="T71" fmla="*/ 61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8" h="636">
                  <a:moveTo>
                    <a:pt x="318" y="636"/>
                  </a:moveTo>
                  <a:lnTo>
                    <a:pt x="283" y="636"/>
                  </a:lnTo>
                  <a:cubicBezTo>
                    <a:pt x="263" y="636"/>
                    <a:pt x="248" y="619"/>
                    <a:pt x="248" y="597"/>
                  </a:cubicBezTo>
                  <a:lnTo>
                    <a:pt x="248" y="580"/>
                  </a:lnTo>
                  <a:cubicBezTo>
                    <a:pt x="248" y="571"/>
                    <a:pt x="242" y="563"/>
                    <a:pt x="234" y="560"/>
                  </a:cubicBezTo>
                  <a:cubicBezTo>
                    <a:pt x="225" y="557"/>
                    <a:pt x="216" y="553"/>
                    <a:pt x="208" y="549"/>
                  </a:cubicBezTo>
                  <a:cubicBezTo>
                    <a:pt x="199" y="545"/>
                    <a:pt x="189" y="547"/>
                    <a:pt x="182" y="554"/>
                  </a:cubicBezTo>
                  <a:lnTo>
                    <a:pt x="169" y="567"/>
                  </a:lnTo>
                  <a:cubicBezTo>
                    <a:pt x="155" y="581"/>
                    <a:pt x="132" y="581"/>
                    <a:pt x="118" y="567"/>
                  </a:cubicBezTo>
                  <a:lnTo>
                    <a:pt x="69" y="518"/>
                  </a:lnTo>
                  <a:cubicBezTo>
                    <a:pt x="54" y="503"/>
                    <a:pt x="55" y="481"/>
                    <a:pt x="71" y="465"/>
                  </a:cubicBezTo>
                  <a:lnTo>
                    <a:pt x="83" y="453"/>
                  </a:lnTo>
                  <a:cubicBezTo>
                    <a:pt x="89" y="447"/>
                    <a:pt x="91" y="437"/>
                    <a:pt x="87" y="429"/>
                  </a:cubicBezTo>
                  <a:cubicBezTo>
                    <a:pt x="83" y="421"/>
                    <a:pt x="80" y="412"/>
                    <a:pt x="77" y="403"/>
                  </a:cubicBezTo>
                  <a:cubicBezTo>
                    <a:pt x="73" y="394"/>
                    <a:pt x="65" y="388"/>
                    <a:pt x="55" y="388"/>
                  </a:cubicBezTo>
                  <a:lnTo>
                    <a:pt x="36" y="388"/>
                  </a:lnTo>
                  <a:cubicBezTo>
                    <a:pt x="16" y="388"/>
                    <a:pt x="0" y="372"/>
                    <a:pt x="0" y="353"/>
                  </a:cubicBezTo>
                  <a:lnTo>
                    <a:pt x="0" y="282"/>
                  </a:lnTo>
                  <a:cubicBezTo>
                    <a:pt x="0" y="263"/>
                    <a:pt x="16" y="247"/>
                    <a:pt x="36" y="247"/>
                  </a:cubicBezTo>
                  <a:lnTo>
                    <a:pt x="55" y="247"/>
                  </a:lnTo>
                  <a:cubicBezTo>
                    <a:pt x="65" y="247"/>
                    <a:pt x="73" y="241"/>
                    <a:pt x="77" y="232"/>
                  </a:cubicBezTo>
                  <a:cubicBezTo>
                    <a:pt x="80" y="224"/>
                    <a:pt x="83" y="215"/>
                    <a:pt x="87" y="207"/>
                  </a:cubicBezTo>
                  <a:cubicBezTo>
                    <a:pt x="91" y="199"/>
                    <a:pt x="89" y="188"/>
                    <a:pt x="82" y="182"/>
                  </a:cubicBezTo>
                  <a:lnTo>
                    <a:pt x="69" y="168"/>
                  </a:lnTo>
                  <a:cubicBezTo>
                    <a:pt x="62" y="161"/>
                    <a:pt x="58" y="152"/>
                    <a:pt x="58" y="143"/>
                  </a:cubicBezTo>
                  <a:cubicBezTo>
                    <a:pt x="58" y="133"/>
                    <a:pt x="62" y="124"/>
                    <a:pt x="69" y="118"/>
                  </a:cubicBezTo>
                  <a:lnTo>
                    <a:pt x="118" y="68"/>
                  </a:lnTo>
                  <a:cubicBezTo>
                    <a:pt x="125" y="61"/>
                    <a:pt x="134" y="57"/>
                    <a:pt x="144" y="58"/>
                  </a:cubicBezTo>
                  <a:cubicBezTo>
                    <a:pt x="154" y="58"/>
                    <a:pt x="163" y="62"/>
                    <a:pt x="170" y="70"/>
                  </a:cubicBezTo>
                  <a:lnTo>
                    <a:pt x="183" y="82"/>
                  </a:lnTo>
                  <a:cubicBezTo>
                    <a:pt x="189" y="89"/>
                    <a:pt x="199" y="90"/>
                    <a:pt x="207" y="87"/>
                  </a:cubicBezTo>
                  <a:cubicBezTo>
                    <a:pt x="215" y="83"/>
                    <a:pt x="224" y="79"/>
                    <a:pt x="233" y="76"/>
                  </a:cubicBezTo>
                  <a:cubicBezTo>
                    <a:pt x="242" y="73"/>
                    <a:pt x="248" y="64"/>
                    <a:pt x="248" y="55"/>
                  </a:cubicBezTo>
                  <a:lnTo>
                    <a:pt x="248" y="35"/>
                  </a:lnTo>
                  <a:cubicBezTo>
                    <a:pt x="248" y="16"/>
                    <a:pt x="264" y="0"/>
                    <a:pt x="283" y="0"/>
                  </a:cubicBezTo>
                  <a:lnTo>
                    <a:pt x="318" y="0"/>
                  </a:lnTo>
                  <a:lnTo>
                    <a:pt x="318" y="16"/>
                  </a:lnTo>
                  <a:lnTo>
                    <a:pt x="283" y="16"/>
                  </a:lnTo>
                  <a:cubicBezTo>
                    <a:pt x="273" y="16"/>
                    <a:pt x="264" y="25"/>
                    <a:pt x="264" y="35"/>
                  </a:cubicBezTo>
                  <a:lnTo>
                    <a:pt x="264" y="55"/>
                  </a:lnTo>
                  <a:cubicBezTo>
                    <a:pt x="264" y="71"/>
                    <a:pt x="254" y="86"/>
                    <a:pt x="238" y="92"/>
                  </a:cubicBezTo>
                  <a:cubicBezTo>
                    <a:pt x="230" y="95"/>
                    <a:pt x="222" y="98"/>
                    <a:pt x="214" y="102"/>
                  </a:cubicBezTo>
                  <a:cubicBezTo>
                    <a:pt x="200" y="109"/>
                    <a:pt x="183" y="106"/>
                    <a:pt x="171" y="94"/>
                  </a:cubicBezTo>
                  <a:lnTo>
                    <a:pt x="159" y="82"/>
                  </a:lnTo>
                  <a:cubicBezTo>
                    <a:pt x="154" y="77"/>
                    <a:pt x="149" y="75"/>
                    <a:pt x="144" y="75"/>
                  </a:cubicBezTo>
                  <a:cubicBezTo>
                    <a:pt x="139" y="74"/>
                    <a:pt x="134" y="76"/>
                    <a:pt x="130" y="80"/>
                  </a:cubicBezTo>
                  <a:lnTo>
                    <a:pt x="80" y="130"/>
                  </a:lnTo>
                  <a:cubicBezTo>
                    <a:pt x="77" y="133"/>
                    <a:pt x="75" y="138"/>
                    <a:pt x="75" y="143"/>
                  </a:cubicBezTo>
                  <a:cubicBezTo>
                    <a:pt x="75" y="148"/>
                    <a:pt x="77" y="153"/>
                    <a:pt x="80" y="156"/>
                  </a:cubicBezTo>
                  <a:lnTo>
                    <a:pt x="94" y="170"/>
                  </a:lnTo>
                  <a:cubicBezTo>
                    <a:pt x="106" y="182"/>
                    <a:pt x="109" y="199"/>
                    <a:pt x="102" y="214"/>
                  </a:cubicBezTo>
                  <a:cubicBezTo>
                    <a:pt x="98" y="222"/>
                    <a:pt x="95" y="230"/>
                    <a:pt x="92" y="238"/>
                  </a:cubicBezTo>
                  <a:cubicBezTo>
                    <a:pt x="87" y="253"/>
                    <a:pt x="72" y="264"/>
                    <a:pt x="55" y="264"/>
                  </a:cubicBezTo>
                  <a:lnTo>
                    <a:pt x="36" y="264"/>
                  </a:lnTo>
                  <a:cubicBezTo>
                    <a:pt x="26" y="264"/>
                    <a:pt x="17" y="272"/>
                    <a:pt x="17" y="282"/>
                  </a:cubicBezTo>
                  <a:lnTo>
                    <a:pt x="17" y="353"/>
                  </a:lnTo>
                  <a:cubicBezTo>
                    <a:pt x="17" y="363"/>
                    <a:pt x="26" y="372"/>
                    <a:pt x="36" y="372"/>
                  </a:cubicBezTo>
                  <a:lnTo>
                    <a:pt x="55" y="372"/>
                  </a:lnTo>
                  <a:cubicBezTo>
                    <a:pt x="72" y="372"/>
                    <a:pt x="87" y="382"/>
                    <a:pt x="92" y="398"/>
                  </a:cubicBezTo>
                  <a:cubicBezTo>
                    <a:pt x="95" y="406"/>
                    <a:pt x="99" y="414"/>
                    <a:pt x="102" y="422"/>
                  </a:cubicBezTo>
                  <a:cubicBezTo>
                    <a:pt x="109" y="436"/>
                    <a:pt x="106" y="453"/>
                    <a:pt x="95" y="465"/>
                  </a:cubicBezTo>
                  <a:lnTo>
                    <a:pt x="82" y="477"/>
                  </a:lnTo>
                  <a:cubicBezTo>
                    <a:pt x="74" y="486"/>
                    <a:pt x="73" y="498"/>
                    <a:pt x="80" y="506"/>
                  </a:cubicBezTo>
                  <a:lnTo>
                    <a:pt x="130" y="556"/>
                  </a:lnTo>
                  <a:cubicBezTo>
                    <a:pt x="138" y="563"/>
                    <a:pt x="150" y="563"/>
                    <a:pt x="157" y="556"/>
                  </a:cubicBezTo>
                  <a:lnTo>
                    <a:pt x="171" y="542"/>
                  </a:lnTo>
                  <a:cubicBezTo>
                    <a:pt x="182" y="530"/>
                    <a:pt x="200" y="527"/>
                    <a:pt x="215" y="534"/>
                  </a:cubicBezTo>
                  <a:cubicBezTo>
                    <a:pt x="223" y="538"/>
                    <a:pt x="231" y="541"/>
                    <a:pt x="239" y="544"/>
                  </a:cubicBezTo>
                  <a:cubicBezTo>
                    <a:pt x="254" y="549"/>
                    <a:pt x="264" y="564"/>
                    <a:pt x="264" y="580"/>
                  </a:cubicBezTo>
                  <a:lnTo>
                    <a:pt x="264" y="597"/>
                  </a:lnTo>
                  <a:cubicBezTo>
                    <a:pt x="264" y="610"/>
                    <a:pt x="272" y="619"/>
                    <a:pt x="283" y="619"/>
                  </a:cubicBezTo>
                  <a:lnTo>
                    <a:pt x="318" y="619"/>
                  </a:lnTo>
                  <a:lnTo>
                    <a:pt x="318" y="636"/>
                  </a:lnTo>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55" name="Freeform 435">
              <a:extLst>
                <a:ext uri="{FF2B5EF4-FFF2-40B4-BE49-F238E27FC236}">
                  <a16:creationId xmlns:a16="http://schemas.microsoft.com/office/drawing/2014/main" id="{56BFD990-15DD-4C92-9D70-E1D058B51087}"/>
                </a:ext>
              </a:extLst>
            </p:cNvPr>
            <p:cNvSpPr>
              <a:spLocks/>
            </p:cNvSpPr>
            <p:nvPr/>
          </p:nvSpPr>
          <p:spPr bwMode="auto">
            <a:xfrm>
              <a:off x="8016876" y="4986338"/>
              <a:ext cx="200025" cy="100013"/>
            </a:xfrm>
            <a:custGeom>
              <a:avLst/>
              <a:gdLst>
                <a:gd name="T0" fmla="*/ 297 w 297"/>
                <a:gd name="T1" fmla="*/ 149 h 149"/>
                <a:gd name="T2" fmla="*/ 281 w 297"/>
                <a:gd name="T3" fmla="*/ 149 h 149"/>
                <a:gd name="T4" fmla="*/ 149 w 297"/>
                <a:gd name="T5" fmla="*/ 17 h 149"/>
                <a:gd name="T6" fmla="*/ 17 w 297"/>
                <a:gd name="T7" fmla="*/ 149 h 149"/>
                <a:gd name="T8" fmla="*/ 0 w 297"/>
                <a:gd name="T9" fmla="*/ 149 h 149"/>
                <a:gd name="T10" fmla="*/ 149 w 297"/>
                <a:gd name="T11" fmla="*/ 0 h 149"/>
                <a:gd name="T12" fmla="*/ 297 w 297"/>
                <a:gd name="T13" fmla="*/ 149 h 149"/>
              </a:gdLst>
              <a:ahLst/>
              <a:cxnLst>
                <a:cxn ang="0">
                  <a:pos x="T0" y="T1"/>
                </a:cxn>
                <a:cxn ang="0">
                  <a:pos x="T2" y="T3"/>
                </a:cxn>
                <a:cxn ang="0">
                  <a:pos x="T4" y="T5"/>
                </a:cxn>
                <a:cxn ang="0">
                  <a:pos x="T6" y="T7"/>
                </a:cxn>
                <a:cxn ang="0">
                  <a:pos x="T8" y="T9"/>
                </a:cxn>
                <a:cxn ang="0">
                  <a:pos x="T10" y="T11"/>
                </a:cxn>
                <a:cxn ang="0">
                  <a:pos x="T12" y="T13"/>
                </a:cxn>
              </a:cxnLst>
              <a:rect l="0" t="0" r="r" b="b"/>
              <a:pathLst>
                <a:path w="297" h="149">
                  <a:moveTo>
                    <a:pt x="297" y="149"/>
                  </a:moveTo>
                  <a:lnTo>
                    <a:pt x="281" y="149"/>
                  </a:lnTo>
                  <a:cubicBezTo>
                    <a:pt x="281" y="76"/>
                    <a:pt x="221" y="17"/>
                    <a:pt x="149" y="17"/>
                  </a:cubicBezTo>
                  <a:cubicBezTo>
                    <a:pt x="76" y="17"/>
                    <a:pt x="17" y="76"/>
                    <a:pt x="17" y="149"/>
                  </a:cubicBezTo>
                  <a:lnTo>
                    <a:pt x="0" y="149"/>
                  </a:lnTo>
                  <a:cubicBezTo>
                    <a:pt x="0" y="67"/>
                    <a:pt x="67" y="0"/>
                    <a:pt x="149" y="0"/>
                  </a:cubicBezTo>
                  <a:cubicBezTo>
                    <a:pt x="231" y="0"/>
                    <a:pt x="297" y="67"/>
                    <a:pt x="297" y="149"/>
                  </a:cubicBezTo>
                  <a:close/>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56" name="Freeform 436">
              <a:extLst>
                <a:ext uri="{FF2B5EF4-FFF2-40B4-BE49-F238E27FC236}">
                  <a16:creationId xmlns:a16="http://schemas.microsoft.com/office/drawing/2014/main" id="{CC8D41CA-6186-45C6-B733-A15411BB1F0B}"/>
                </a:ext>
              </a:extLst>
            </p:cNvPr>
            <p:cNvSpPr>
              <a:spLocks/>
            </p:cNvSpPr>
            <p:nvPr/>
          </p:nvSpPr>
          <p:spPr bwMode="auto">
            <a:xfrm>
              <a:off x="7902576" y="4872038"/>
              <a:ext cx="428625" cy="214313"/>
            </a:xfrm>
            <a:custGeom>
              <a:avLst/>
              <a:gdLst>
                <a:gd name="T0" fmla="*/ 619 w 636"/>
                <a:gd name="T1" fmla="*/ 318 h 318"/>
                <a:gd name="T2" fmla="*/ 600 w 636"/>
                <a:gd name="T3" fmla="*/ 264 h 318"/>
                <a:gd name="T4" fmla="*/ 544 w 636"/>
                <a:gd name="T5" fmla="*/ 238 h 318"/>
                <a:gd name="T6" fmla="*/ 541 w 636"/>
                <a:gd name="T7" fmla="*/ 171 h 318"/>
                <a:gd name="T8" fmla="*/ 556 w 636"/>
                <a:gd name="T9" fmla="*/ 130 h 318"/>
                <a:gd name="T10" fmla="*/ 479 w 636"/>
                <a:gd name="T11" fmla="*/ 80 h 318"/>
                <a:gd name="T12" fmla="*/ 421 w 636"/>
                <a:gd name="T13" fmla="*/ 102 h 318"/>
                <a:gd name="T14" fmla="*/ 372 w 636"/>
                <a:gd name="T15" fmla="*/ 55 h 318"/>
                <a:gd name="T16" fmla="*/ 353 w 636"/>
                <a:gd name="T17" fmla="*/ 17 h 318"/>
                <a:gd name="T18" fmla="*/ 264 w 636"/>
                <a:gd name="T19" fmla="*/ 36 h 318"/>
                <a:gd name="T20" fmla="*/ 238 w 636"/>
                <a:gd name="T21" fmla="*/ 92 h 318"/>
                <a:gd name="T22" fmla="*/ 171 w 636"/>
                <a:gd name="T23" fmla="*/ 94 h 318"/>
                <a:gd name="T24" fmla="*/ 143 w 636"/>
                <a:gd name="T25" fmla="*/ 75 h 318"/>
                <a:gd name="T26" fmla="*/ 80 w 636"/>
                <a:gd name="T27" fmla="*/ 130 h 318"/>
                <a:gd name="T28" fmla="*/ 94 w 636"/>
                <a:gd name="T29" fmla="*/ 170 h 318"/>
                <a:gd name="T30" fmla="*/ 91 w 636"/>
                <a:gd name="T31" fmla="*/ 239 h 318"/>
                <a:gd name="T32" fmla="*/ 38 w 636"/>
                <a:gd name="T33" fmla="*/ 264 h 318"/>
                <a:gd name="T34" fmla="*/ 17 w 636"/>
                <a:gd name="T35" fmla="*/ 318 h 318"/>
                <a:gd name="T36" fmla="*/ 0 w 636"/>
                <a:gd name="T37" fmla="*/ 283 h 318"/>
                <a:gd name="T38" fmla="*/ 56 w 636"/>
                <a:gd name="T39" fmla="*/ 247 h 318"/>
                <a:gd name="T40" fmla="*/ 86 w 636"/>
                <a:gd name="T41" fmla="*/ 207 h 318"/>
                <a:gd name="T42" fmla="*/ 68 w 636"/>
                <a:gd name="T43" fmla="*/ 168 h 318"/>
                <a:gd name="T44" fmla="*/ 68 w 636"/>
                <a:gd name="T45" fmla="*/ 118 h 318"/>
                <a:gd name="T46" fmla="*/ 144 w 636"/>
                <a:gd name="T47" fmla="*/ 58 h 318"/>
                <a:gd name="T48" fmla="*/ 183 w 636"/>
                <a:gd name="T49" fmla="*/ 83 h 318"/>
                <a:gd name="T50" fmla="*/ 232 w 636"/>
                <a:gd name="T51" fmla="*/ 76 h 318"/>
                <a:gd name="T52" fmla="*/ 247 w 636"/>
                <a:gd name="T53" fmla="*/ 36 h 318"/>
                <a:gd name="T54" fmla="*/ 353 w 636"/>
                <a:gd name="T55" fmla="*/ 0 h 318"/>
                <a:gd name="T56" fmla="*/ 389 w 636"/>
                <a:gd name="T57" fmla="*/ 55 h 318"/>
                <a:gd name="T58" fmla="*/ 428 w 636"/>
                <a:gd name="T59" fmla="*/ 87 h 318"/>
                <a:gd name="T60" fmla="*/ 467 w 636"/>
                <a:gd name="T61" fmla="*/ 68 h 318"/>
                <a:gd name="T62" fmla="*/ 567 w 636"/>
                <a:gd name="T63" fmla="*/ 118 h 318"/>
                <a:gd name="T64" fmla="*/ 553 w 636"/>
                <a:gd name="T65" fmla="*/ 183 h 318"/>
                <a:gd name="T66" fmla="*/ 560 w 636"/>
                <a:gd name="T67" fmla="*/ 232 h 318"/>
                <a:gd name="T68" fmla="*/ 600 w 636"/>
                <a:gd name="T69" fmla="*/ 247 h 318"/>
                <a:gd name="T70" fmla="*/ 636 w 636"/>
                <a:gd name="T71"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6" h="318">
                  <a:moveTo>
                    <a:pt x="636" y="318"/>
                  </a:moveTo>
                  <a:lnTo>
                    <a:pt x="619" y="318"/>
                  </a:lnTo>
                  <a:lnTo>
                    <a:pt x="619" y="283"/>
                  </a:lnTo>
                  <a:cubicBezTo>
                    <a:pt x="619" y="272"/>
                    <a:pt x="611" y="264"/>
                    <a:pt x="600" y="264"/>
                  </a:cubicBezTo>
                  <a:lnTo>
                    <a:pt x="581" y="264"/>
                  </a:lnTo>
                  <a:cubicBezTo>
                    <a:pt x="564" y="264"/>
                    <a:pt x="549" y="253"/>
                    <a:pt x="544" y="238"/>
                  </a:cubicBezTo>
                  <a:cubicBezTo>
                    <a:pt x="541" y="230"/>
                    <a:pt x="538" y="221"/>
                    <a:pt x="534" y="214"/>
                  </a:cubicBezTo>
                  <a:cubicBezTo>
                    <a:pt x="527" y="199"/>
                    <a:pt x="530" y="182"/>
                    <a:pt x="541" y="171"/>
                  </a:cubicBezTo>
                  <a:lnTo>
                    <a:pt x="554" y="158"/>
                  </a:lnTo>
                  <a:cubicBezTo>
                    <a:pt x="563" y="149"/>
                    <a:pt x="563" y="137"/>
                    <a:pt x="556" y="130"/>
                  </a:cubicBezTo>
                  <a:lnTo>
                    <a:pt x="506" y="80"/>
                  </a:lnTo>
                  <a:cubicBezTo>
                    <a:pt x="499" y="73"/>
                    <a:pt x="486" y="73"/>
                    <a:pt x="479" y="80"/>
                  </a:cubicBezTo>
                  <a:lnTo>
                    <a:pt x="466" y="94"/>
                  </a:lnTo>
                  <a:cubicBezTo>
                    <a:pt x="454" y="105"/>
                    <a:pt x="436" y="109"/>
                    <a:pt x="421" y="102"/>
                  </a:cubicBezTo>
                  <a:cubicBezTo>
                    <a:pt x="414" y="98"/>
                    <a:pt x="406" y="95"/>
                    <a:pt x="398" y="92"/>
                  </a:cubicBezTo>
                  <a:cubicBezTo>
                    <a:pt x="382" y="86"/>
                    <a:pt x="372" y="72"/>
                    <a:pt x="372" y="55"/>
                  </a:cubicBezTo>
                  <a:lnTo>
                    <a:pt x="372" y="36"/>
                  </a:lnTo>
                  <a:cubicBezTo>
                    <a:pt x="372" y="25"/>
                    <a:pt x="363" y="17"/>
                    <a:pt x="353" y="17"/>
                  </a:cubicBezTo>
                  <a:lnTo>
                    <a:pt x="283" y="17"/>
                  </a:lnTo>
                  <a:cubicBezTo>
                    <a:pt x="272" y="17"/>
                    <a:pt x="264" y="25"/>
                    <a:pt x="264" y="36"/>
                  </a:cubicBezTo>
                  <a:lnTo>
                    <a:pt x="264" y="55"/>
                  </a:lnTo>
                  <a:cubicBezTo>
                    <a:pt x="264" y="72"/>
                    <a:pt x="253" y="86"/>
                    <a:pt x="238" y="92"/>
                  </a:cubicBezTo>
                  <a:cubicBezTo>
                    <a:pt x="230" y="95"/>
                    <a:pt x="221" y="98"/>
                    <a:pt x="214" y="102"/>
                  </a:cubicBezTo>
                  <a:cubicBezTo>
                    <a:pt x="199" y="109"/>
                    <a:pt x="182" y="106"/>
                    <a:pt x="171" y="94"/>
                  </a:cubicBezTo>
                  <a:lnTo>
                    <a:pt x="158" y="82"/>
                  </a:lnTo>
                  <a:cubicBezTo>
                    <a:pt x="154" y="77"/>
                    <a:pt x="148" y="75"/>
                    <a:pt x="143" y="75"/>
                  </a:cubicBezTo>
                  <a:cubicBezTo>
                    <a:pt x="138" y="74"/>
                    <a:pt x="133" y="76"/>
                    <a:pt x="130" y="80"/>
                  </a:cubicBezTo>
                  <a:lnTo>
                    <a:pt x="80" y="130"/>
                  </a:lnTo>
                  <a:cubicBezTo>
                    <a:pt x="73" y="137"/>
                    <a:pt x="73" y="149"/>
                    <a:pt x="80" y="156"/>
                  </a:cubicBezTo>
                  <a:lnTo>
                    <a:pt x="94" y="170"/>
                  </a:lnTo>
                  <a:cubicBezTo>
                    <a:pt x="105" y="182"/>
                    <a:pt x="109" y="200"/>
                    <a:pt x="101" y="214"/>
                  </a:cubicBezTo>
                  <a:cubicBezTo>
                    <a:pt x="98" y="222"/>
                    <a:pt x="94" y="231"/>
                    <a:pt x="91" y="239"/>
                  </a:cubicBezTo>
                  <a:cubicBezTo>
                    <a:pt x="86" y="254"/>
                    <a:pt x="72" y="264"/>
                    <a:pt x="56" y="264"/>
                  </a:cubicBezTo>
                  <a:lnTo>
                    <a:pt x="38" y="264"/>
                  </a:lnTo>
                  <a:cubicBezTo>
                    <a:pt x="26" y="264"/>
                    <a:pt x="17" y="272"/>
                    <a:pt x="17" y="283"/>
                  </a:cubicBezTo>
                  <a:lnTo>
                    <a:pt x="17" y="318"/>
                  </a:lnTo>
                  <a:lnTo>
                    <a:pt x="0" y="318"/>
                  </a:lnTo>
                  <a:lnTo>
                    <a:pt x="0" y="283"/>
                  </a:lnTo>
                  <a:cubicBezTo>
                    <a:pt x="0" y="262"/>
                    <a:pt x="16" y="247"/>
                    <a:pt x="38" y="247"/>
                  </a:cubicBezTo>
                  <a:lnTo>
                    <a:pt x="56" y="247"/>
                  </a:lnTo>
                  <a:cubicBezTo>
                    <a:pt x="65" y="247"/>
                    <a:pt x="73" y="242"/>
                    <a:pt x="76" y="233"/>
                  </a:cubicBezTo>
                  <a:cubicBezTo>
                    <a:pt x="79" y="225"/>
                    <a:pt x="82" y="216"/>
                    <a:pt x="86" y="207"/>
                  </a:cubicBezTo>
                  <a:cubicBezTo>
                    <a:pt x="90" y="199"/>
                    <a:pt x="89" y="189"/>
                    <a:pt x="82" y="182"/>
                  </a:cubicBezTo>
                  <a:lnTo>
                    <a:pt x="68" y="168"/>
                  </a:lnTo>
                  <a:cubicBezTo>
                    <a:pt x="61" y="162"/>
                    <a:pt x="58" y="153"/>
                    <a:pt x="58" y="143"/>
                  </a:cubicBezTo>
                  <a:cubicBezTo>
                    <a:pt x="58" y="134"/>
                    <a:pt x="61" y="125"/>
                    <a:pt x="68" y="118"/>
                  </a:cubicBezTo>
                  <a:lnTo>
                    <a:pt x="118" y="68"/>
                  </a:lnTo>
                  <a:cubicBezTo>
                    <a:pt x="125" y="61"/>
                    <a:pt x="133" y="58"/>
                    <a:pt x="144" y="58"/>
                  </a:cubicBezTo>
                  <a:cubicBezTo>
                    <a:pt x="153" y="58"/>
                    <a:pt x="163" y="63"/>
                    <a:pt x="170" y="70"/>
                  </a:cubicBezTo>
                  <a:lnTo>
                    <a:pt x="183" y="83"/>
                  </a:lnTo>
                  <a:cubicBezTo>
                    <a:pt x="189" y="89"/>
                    <a:pt x="198" y="91"/>
                    <a:pt x="206" y="87"/>
                  </a:cubicBezTo>
                  <a:cubicBezTo>
                    <a:pt x="215" y="83"/>
                    <a:pt x="223" y="79"/>
                    <a:pt x="232" y="76"/>
                  </a:cubicBezTo>
                  <a:cubicBezTo>
                    <a:pt x="241" y="73"/>
                    <a:pt x="247" y="64"/>
                    <a:pt x="247" y="55"/>
                  </a:cubicBezTo>
                  <a:lnTo>
                    <a:pt x="247" y="36"/>
                  </a:lnTo>
                  <a:cubicBezTo>
                    <a:pt x="247" y="16"/>
                    <a:pt x="263" y="0"/>
                    <a:pt x="283" y="0"/>
                  </a:cubicBezTo>
                  <a:lnTo>
                    <a:pt x="353" y="0"/>
                  </a:lnTo>
                  <a:cubicBezTo>
                    <a:pt x="373" y="0"/>
                    <a:pt x="389" y="16"/>
                    <a:pt x="389" y="36"/>
                  </a:cubicBezTo>
                  <a:lnTo>
                    <a:pt x="389" y="55"/>
                  </a:lnTo>
                  <a:cubicBezTo>
                    <a:pt x="389" y="64"/>
                    <a:pt x="394" y="73"/>
                    <a:pt x="403" y="76"/>
                  </a:cubicBezTo>
                  <a:cubicBezTo>
                    <a:pt x="412" y="79"/>
                    <a:pt x="420" y="83"/>
                    <a:pt x="428" y="87"/>
                  </a:cubicBezTo>
                  <a:cubicBezTo>
                    <a:pt x="437" y="91"/>
                    <a:pt x="447" y="89"/>
                    <a:pt x="454" y="82"/>
                  </a:cubicBezTo>
                  <a:lnTo>
                    <a:pt x="467" y="68"/>
                  </a:lnTo>
                  <a:cubicBezTo>
                    <a:pt x="481" y="55"/>
                    <a:pt x="504" y="55"/>
                    <a:pt x="518" y="68"/>
                  </a:cubicBezTo>
                  <a:lnTo>
                    <a:pt x="567" y="118"/>
                  </a:lnTo>
                  <a:cubicBezTo>
                    <a:pt x="582" y="132"/>
                    <a:pt x="581" y="155"/>
                    <a:pt x="566" y="170"/>
                  </a:cubicBezTo>
                  <a:lnTo>
                    <a:pt x="553" y="183"/>
                  </a:lnTo>
                  <a:cubicBezTo>
                    <a:pt x="547" y="189"/>
                    <a:pt x="545" y="199"/>
                    <a:pt x="549" y="206"/>
                  </a:cubicBezTo>
                  <a:cubicBezTo>
                    <a:pt x="553" y="215"/>
                    <a:pt x="556" y="224"/>
                    <a:pt x="560" y="232"/>
                  </a:cubicBezTo>
                  <a:cubicBezTo>
                    <a:pt x="563" y="241"/>
                    <a:pt x="571" y="247"/>
                    <a:pt x="581" y="247"/>
                  </a:cubicBezTo>
                  <a:lnTo>
                    <a:pt x="600" y="247"/>
                  </a:lnTo>
                  <a:cubicBezTo>
                    <a:pt x="620" y="247"/>
                    <a:pt x="636" y="263"/>
                    <a:pt x="636" y="283"/>
                  </a:cubicBezTo>
                  <a:lnTo>
                    <a:pt x="636" y="318"/>
                  </a:lnTo>
                  <a:close/>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57" name="Freeform 437">
              <a:extLst>
                <a:ext uri="{FF2B5EF4-FFF2-40B4-BE49-F238E27FC236}">
                  <a16:creationId xmlns:a16="http://schemas.microsoft.com/office/drawing/2014/main" id="{F2CCE989-97DF-4465-821D-C3990AFA114A}"/>
                </a:ext>
              </a:extLst>
            </p:cNvPr>
            <p:cNvSpPr>
              <a:spLocks noEditPoints="1"/>
            </p:cNvSpPr>
            <p:nvPr/>
          </p:nvSpPr>
          <p:spPr bwMode="auto">
            <a:xfrm>
              <a:off x="7723188" y="4511676"/>
              <a:ext cx="769938" cy="569913"/>
            </a:xfrm>
            <a:custGeom>
              <a:avLst/>
              <a:gdLst>
                <a:gd name="T0" fmla="*/ 17 w 1143"/>
                <a:gd name="T1" fmla="*/ 96 h 844"/>
                <a:gd name="T2" fmla="*/ 17 w 1143"/>
                <a:gd name="T3" fmla="*/ 775 h 844"/>
                <a:gd name="T4" fmla="*/ 69 w 1143"/>
                <a:gd name="T5" fmla="*/ 827 h 844"/>
                <a:gd name="T6" fmla="*/ 122 w 1143"/>
                <a:gd name="T7" fmla="*/ 775 h 844"/>
                <a:gd name="T8" fmla="*/ 122 w 1143"/>
                <a:gd name="T9" fmla="*/ 96 h 844"/>
                <a:gd name="T10" fmla="*/ 17 w 1143"/>
                <a:gd name="T11" fmla="*/ 96 h 844"/>
                <a:gd name="T12" fmla="*/ 69 w 1143"/>
                <a:gd name="T13" fmla="*/ 844 h 844"/>
                <a:gd name="T14" fmla="*/ 0 w 1143"/>
                <a:gd name="T15" fmla="*/ 775 h 844"/>
                <a:gd name="T16" fmla="*/ 0 w 1143"/>
                <a:gd name="T17" fmla="*/ 80 h 844"/>
                <a:gd name="T18" fmla="*/ 122 w 1143"/>
                <a:gd name="T19" fmla="*/ 80 h 844"/>
                <a:gd name="T20" fmla="*/ 122 w 1143"/>
                <a:gd name="T21" fmla="*/ 0 h 844"/>
                <a:gd name="T22" fmla="*/ 455 w 1143"/>
                <a:gd name="T23" fmla="*/ 0 h 844"/>
                <a:gd name="T24" fmla="*/ 525 w 1143"/>
                <a:gd name="T25" fmla="*/ 98 h 844"/>
                <a:gd name="T26" fmla="*/ 1143 w 1143"/>
                <a:gd name="T27" fmla="*/ 98 h 844"/>
                <a:gd name="T28" fmla="*/ 1143 w 1143"/>
                <a:gd name="T29" fmla="*/ 150 h 844"/>
                <a:gd name="T30" fmla="*/ 1126 w 1143"/>
                <a:gd name="T31" fmla="*/ 150 h 844"/>
                <a:gd name="T32" fmla="*/ 1126 w 1143"/>
                <a:gd name="T33" fmla="*/ 114 h 844"/>
                <a:gd name="T34" fmla="*/ 516 w 1143"/>
                <a:gd name="T35" fmla="*/ 114 h 844"/>
                <a:gd name="T36" fmla="*/ 447 w 1143"/>
                <a:gd name="T37" fmla="*/ 17 h 844"/>
                <a:gd name="T38" fmla="*/ 138 w 1143"/>
                <a:gd name="T39" fmla="*/ 17 h 844"/>
                <a:gd name="T40" fmla="*/ 138 w 1143"/>
                <a:gd name="T41" fmla="*/ 775 h 844"/>
                <a:gd name="T42" fmla="*/ 69 w 1143"/>
                <a:gd name="T43" fmla="*/ 844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3" h="844">
                  <a:moveTo>
                    <a:pt x="17" y="96"/>
                  </a:moveTo>
                  <a:lnTo>
                    <a:pt x="17" y="775"/>
                  </a:lnTo>
                  <a:cubicBezTo>
                    <a:pt x="17" y="804"/>
                    <a:pt x="40" y="827"/>
                    <a:pt x="69" y="827"/>
                  </a:cubicBezTo>
                  <a:cubicBezTo>
                    <a:pt x="98" y="827"/>
                    <a:pt x="122" y="804"/>
                    <a:pt x="122" y="775"/>
                  </a:cubicBezTo>
                  <a:lnTo>
                    <a:pt x="122" y="96"/>
                  </a:lnTo>
                  <a:lnTo>
                    <a:pt x="17" y="96"/>
                  </a:lnTo>
                  <a:close/>
                  <a:moveTo>
                    <a:pt x="69" y="844"/>
                  </a:moveTo>
                  <a:cubicBezTo>
                    <a:pt x="31" y="844"/>
                    <a:pt x="0" y="813"/>
                    <a:pt x="0" y="775"/>
                  </a:cubicBezTo>
                  <a:lnTo>
                    <a:pt x="0" y="80"/>
                  </a:lnTo>
                  <a:lnTo>
                    <a:pt x="122" y="80"/>
                  </a:lnTo>
                  <a:lnTo>
                    <a:pt x="122" y="0"/>
                  </a:lnTo>
                  <a:lnTo>
                    <a:pt x="455" y="0"/>
                  </a:lnTo>
                  <a:lnTo>
                    <a:pt x="525" y="98"/>
                  </a:lnTo>
                  <a:lnTo>
                    <a:pt x="1143" y="98"/>
                  </a:lnTo>
                  <a:lnTo>
                    <a:pt x="1143" y="150"/>
                  </a:lnTo>
                  <a:lnTo>
                    <a:pt x="1126" y="150"/>
                  </a:lnTo>
                  <a:lnTo>
                    <a:pt x="1126" y="114"/>
                  </a:lnTo>
                  <a:lnTo>
                    <a:pt x="516" y="114"/>
                  </a:lnTo>
                  <a:lnTo>
                    <a:pt x="447" y="17"/>
                  </a:lnTo>
                  <a:lnTo>
                    <a:pt x="138" y="17"/>
                  </a:lnTo>
                  <a:lnTo>
                    <a:pt x="138" y="775"/>
                  </a:lnTo>
                  <a:cubicBezTo>
                    <a:pt x="138" y="813"/>
                    <a:pt x="107" y="844"/>
                    <a:pt x="69" y="844"/>
                  </a:cubicBezTo>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58" name="Freeform 438">
              <a:extLst>
                <a:ext uri="{FF2B5EF4-FFF2-40B4-BE49-F238E27FC236}">
                  <a16:creationId xmlns:a16="http://schemas.microsoft.com/office/drawing/2014/main" id="{1E08CCE2-89BF-4D8A-ACAC-B4D66E01911F}"/>
                </a:ext>
              </a:extLst>
            </p:cNvPr>
            <p:cNvSpPr>
              <a:spLocks/>
            </p:cNvSpPr>
            <p:nvPr/>
          </p:nvSpPr>
          <p:spPr bwMode="auto">
            <a:xfrm>
              <a:off x="7866063" y="4413251"/>
              <a:ext cx="576263" cy="169863"/>
            </a:xfrm>
            <a:custGeom>
              <a:avLst/>
              <a:gdLst>
                <a:gd name="T0" fmla="*/ 363 w 363"/>
                <a:gd name="T1" fmla="*/ 107 h 107"/>
                <a:gd name="T2" fmla="*/ 355 w 363"/>
                <a:gd name="T3" fmla="*/ 107 h 107"/>
                <a:gd name="T4" fmla="*/ 355 w 363"/>
                <a:gd name="T5" fmla="*/ 7 h 107"/>
                <a:gd name="T6" fmla="*/ 8 w 363"/>
                <a:gd name="T7" fmla="*/ 7 h 107"/>
                <a:gd name="T8" fmla="*/ 8 w 363"/>
                <a:gd name="T9" fmla="*/ 65 h 107"/>
                <a:gd name="T10" fmla="*/ 0 w 363"/>
                <a:gd name="T11" fmla="*/ 65 h 107"/>
                <a:gd name="T12" fmla="*/ 0 w 363"/>
                <a:gd name="T13" fmla="*/ 0 h 107"/>
                <a:gd name="T14" fmla="*/ 363 w 363"/>
                <a:gd name="T15" fmla="*/ 0 h 107"/>
                <a:gd name="T16" fmla="*/ 363 w 363"/>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3" h="107">
                  <a:moveTo>
                    <a:pt x="363" y="107"/>
                  </a:moveTo>
                  <a:lnTo>
                    <a:pt x="355" y="107"/>
                  </a:lnTo>
                  <a:lnTo>
                    <a:pt x="355" y="7"/>
                  </a:lnTo>
                  <a:lnTo>
                    <a:pt x="8" y="7"/>
                  </a:lnTo>
                  <a:lnTo>
                    <a:pt x="8" y="65"/>
                  </a:lnTo>
                  <a:lnTo>
                    <a:pt x="0" y="65"/>
                  </a:lnTo>
                  <a:lnTo>
                    <a:pt x="0" y="0"/>
                  </a:lnTo>
                  <a:lnTo>
                    <a:pt x="363" y="0"/>
                  </a:lnTo>
                  <a:lnTo>
                    <a:pt x="363" y="107"/>
                  </a:lnTo>
                  <a:close/>
                </a:path>
              </a:pathLst>
            </a:custGeom>
            <a:grpFill/>
            <a:ln w="381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59" name="Rectangle 439">
              <a:extLst>
                <a:ext uri="{FF2B5EF4-FFF2-40B4-BE49-F238E27FC236}">
                  <a16:creationId xmlns:a16="http://schemas.microsoft.com/office/drawing/2014/main" id="{A6FFFE1E-7A27-4183-A184-076DB110B30F}"/>
                </a:ext>
              </a:extLst>
            </p:cNvPr>
            <p:cNvSpPr>
              <a:spLocks noChangeArrowheads="1"/>
            </p:cNvSpPr>
            <p:nvPr/>
          </p:nvSpPr>
          <p:spPr bwMode="auto">
            <a:xfrm>
              <a:off x="7769226" y="5068888"/>
              <a:ext cx="101600" cy="12700"/>
            </a:xfrm>
            <a:prstGeom prst="rect">
              <a:avLst/>
            </a:prstGeom>
            <a:grpFill/>
            <a:ln w="38100">
              <a:solidFill>
                <a:schemeClr val="accent3">
                  <a:lumMod val="75000"/>
                </a:schemeClr>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grpSp>
      <p:grpSp>
        <p:nvGrpSpPr>
          <p:cNvPr id="60" name="Key11" descr="{&quot;Key&quot;:&quot;POWER_USER_SHAPE_ICON&quot;,&quot;Value&quot;:&quot;POWER_USER_SHAPE_ICON_STYLE_1&quot;}">
            <a:extLst>
              <a:ext uri="{FF2B5EF4-FFF2-40B4-BE49-F238E27FC236}">
                <a16:creationId xmlns:a16="http://schemas.microsoft.com/office/drawing/2014/main" id="{791F0342-489C-4E46-B059-776792D4644D}"/>
              </a:ext>
            </a:extLst>
          </p:cNvPr>
          <p:cNvGrpSpPr>
            <a:grpSpLocks noChangeAspect="1"/>
          </p:cNvGrpSpPr>
          <p:nvPr/>
        </p:nvGrpSpPr>
        <p:grpSpPr>
          <a:xfrm>
            <a:off x="971876" y="5360265"/>
            <a:ext cx="1003113" cy="914400"/>
            <a:chOff x="7407419" y="2698217"/>
            <a:chExt cx="413417" cy="376855"/>
          </a:xfrm>
          <a:solidFill>
            <a:schemeClr val="accent1"/>
          </a:solidFill>
        </p:grpSpPr>
        <p:sp>
          <p:nvSpPr>
            <p:cNvPr id="61" name="Freeform 437">
              <a:extLst>
                <a:ext uri="{FF2B5EF4-FFF2-40B4-BE49-F238E27FC236}">
                  <a16:creationId xmlns:a16="http://schemas.microsoft.com/office/drawing/2014/main" id="{5C9A0F74-0CB9-4393-AEBF-D436A6EB958A}"/>
                </a:ext>
              </a:extLst>
            </p:cNvPr>
            <p:cNvSpPr>
              <a:spLocks/>
            </p:cNvSpPr>
            <p:nvPr/>
          </p:nvSpPr>
          <p:spPr bwMode="auto">
            <a:xfrm>
              <a:off x="7635221" y="2923205"/>
              <a:ext cx="50622" cy="28124"/>
            </a:xfrm>
            <a:custGeom>
              <a:avLst/>
              <a:gdLst>
                <a:gd name="T0" fmla="*/ 791 w 815"/>
                <a:gd name="T1" fmla="*/ 412 h 412"/>
                <a:gd name="T2" fmla="*/ 692 w 815"/>
                <a:gd name="T3" fmla="*/ 400 h 412"/>
                <a:gd name="T4" fmla="*/ 90 w 815"/>
                <a:gd name="T5" fmla="*/ 224 h 412"/>
                <a:gd name="T6" fmla="*/ 0 w 815"/>
                <a:gd name="T7" fmla="*/ 180 h 412"/>
                <a:gd name="T8" fmla="*/ 87 w 815"/>
                <a:gd name="T9" fmla="*/ 0 h 412"/>
                <a:gd name="T10" fmla="*/ 177 w 815"/>
                <a:gd name="T11" fmla="*/ 43 h 412"/>
                <a:gd name="T12" fmla="*/ 717 w 815"/>
                <a:gd name="T13" fmla="*/ 202 h 412"/>
                <a:gd name="T14" fmla="*/ 815 w 815"/>
                <a:gd name="T15" fmla="*/ 214 h 412"/>
                <a:gd name="T16" fmla="*/ 791 w 815"/>
                <a:gd name="T17"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5" h="412">
                  <a:moveTo>
                    <a:pt x="791" y="412"/>
                  </a:moveTo>
                  <a:lnTo>
                    <a:pt x="692" y="400"/>
                  </a:lnTo>
                  <a:cubicBezTo>
                    <a:pt x="482" y="374"/>
                    <a:pt x="279" y="314"/>
                    <a:pt x="90" y="224"/>
                  </a:cubicBezTo>
                  <a:lnTo>
                    <a:pt x="0" y="180"/>
                  </a:lnTo>
                  <a:lnTo>
                    <a:pt x="87" y="0"/>
                  </a:lnTo>
                  <a:lnTo>
                    <a:pt x="177" y="43"/>
                  </a:lnTo>
                  <a:cubicBezTo>
                    <a:pt x="347" y="125"/>
                    <a:pt x="528" y="178"/>
                    <a:pt x="717" y="202"/>
                  </a:cubicBezTo>
                  <a:lnTo>
                    <a:pt x="815" y="214"/>
                  </a:lnTo>
                  <a:lnTo>
                    <a:pt x="791" y="412"/>
                  </a:lnTo>
                  <a:close/>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62" name="Freeform 438">
              <a:extLst>
                <a:ext uri="{FF2B5EF4-FFF2-40B4-BE49-F238E27FC236}">
                  <a16:creationId xmlns:a16="http://schemas.microsoft.com/office/drawing/2014/main" id="{FB44FAB7-74E0-41EB-8836-74BADA9F7F47}"/>
                </a:ext>
              </a:extLst>
            </p:cNvPr>
            <p:cNvSpPr>
              <a:spLocks/>
            </p:cNvSpPr>
            <p:nvPr/>
          </p:nvSpPr>
          <p:spPr bwMode="auto">
            <a:xfrm>
              <a:off x="7680219" y="2866958"/>
              <a:ext cx="129368" cy="84371"/>
            </a:xfrm>
            <a:custGeom>
              <a:avLst/>
              <a:gdLst>
                <a:gd name="T0" fmla="*/ 217 w 2012"/>
                <a:gd name="T1" fmla="*/ 1300 h 1300"/>
                <a:gd name="T2" fmla="*/ 97 w 2012"/>
                <a:gd name="T3" fmla="*/ 1297 h 1300"/>
                <a:gd name="T4" fmla="*/ 3 w 2012"/>
                <a:gd name="T5" fmla="*/ 1191 h 1300"/>
                <a:gd name="T6" fmla="*/ 110 w 2012"/>
                <a:gd name="T7" fmla="*/ 1097 h 1300"/>
                <a:gd name="T8" fmla="*/ 1364 w 2012"/>
                <a:gd name="T9" fmla="*/ 668 h 1300"/>
                <a:gd name="T10" fmla="*/ 1807 w 2012"/>
                <a:gd name="T11" fmla="*/ 73 h 1300"/>
                <a:gd name="T12" fmla="*/ 1939 w 2012"/>
                <a:gd name="T13" fmla="*/ 22 h 1300"/>
                <a:gd name="T14" fmla="*/ 1990 w 2012"/>
                <a:gd name="T15" fmla="*/ 155 h 1300"/>
                <a:gd name="T16" fmla="*/ 1496 w 2012"/>
                <a:gd name="T17" fmla="*/ 819 h 1300"/>
                <a:gd name="T18" fmla="*/ 217 w 2012"/>
                <a:gd name="T19" fmla="*/ 1300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2" h="1300">
                  <a:moveTo>
                    <a:pt x="217" y="1300"/>
                  </a:moveTo>
                  <a:cubicBezTo>
                    <a:pt x="177" y="1300"/>
                    <a:pt x="137" y="1299"/>
                    <a:pt x="97" y="1297"/>
                  </a:cubicBezTo>
                  <a:cubicBezTo>
                    <a:pt x="42" y="1293"/>
                    <a:pt x="0" y="1246"/>
                    <a:pt x="3" y="1191"/>
                  </a:cubicBezTo>
                  <a:cubicBezTo>
                    <a:pt x="7" y="1136"/>
                    <a:pt x="54" y="1094"/>
                    <a:pt x="110" y="1097"/>
                  </a:cubicBezTo>
                  <a:cubicBezTo>
                    <a:pt x="571" y="1125"/>
                    <a:pt x="1016" y="973"/>
                    <a:pt x="1364" y="668"/>
                  </a:cubicBezTo>
                  <a:cubicBezTo>
                    <a:pt x="1555" y="502"/>
                    <a:pt x="1704" y="301"/>
                    <a:pt x="1807" y="73"/>
                  </a:cubicBezTo>
                  <a:cubicBezTo>
                    <a:pt x="1830" y="22"/>
                    <a:pt x="1889" y="0"/>
                    <a:pt x="1939" y="22"/>
                  </a:cubicBezTo>
                  <a:cubicBezTo>
                    <a:pt x="1990" y="45"/>
                    <a:pt x="2012" y="104"/>
                    <a:pt x="1990" y="155"/>
                  </a:cubicBezTo>
                  <a:cubicBezTo>
                    <a:pt x="1875" y="410"/>
                    <a:pt x="1709" y="633"/>
                    <a:pt x="1496" y="819"/>
                  </a:cubicBezTo>
                  <a:cubicBezTo>
                    <a:pt x="1138" y="1132"/>
                    <a:pt x="688" y="1300"/>
                    <a:pt x="217" y="1300"/>
                  </a:cubicBezTo>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63" name="Freeform 439">
              <a:extLst>
                <a:ext uri="{FF2B5EF4-FFF2-40B4-BE49-F238E27FC236}">
                  <a16:creationId xmlns:a16="http://schemas.microsoft.com/office/drawing/2014/main" id="{307982F1-5E8F-453F-A371-055DA678AC5F}"/>
                </a:ext>
              </a:extLst>
            </p:cNvPr>
            <p:cNvSpPr>
              <a:spLocks/>
            </p:cNvSpPr>
            <p:nvPr/>
          </p:nvSpPr>
          <p:spPr bwMode="auto">
            <a:xfrm>
              <a:off x="7803962" y="2841646"/>
              <a:ext cx="14063" cy="14063"/>
            </a:xfrm>
            <a:custGeom>
              <a:avLst/>
              <a:gdLst>
                <a:gd name="T0" fmla="*/ 110 w 230"/>
                <a:gd name="T1" fmla="*/ 210 h 210"/>
                <a:gd name="T2" fmla="*/ 71 w 230"/>
                <a:gd name="T3" fmla="*/ 202 h 210"/>
                <a:gd name="T4" fmla="*/ 12 w 230"/>
                <a:gd name="T5" fmla="*/ 83 h 210"/>
                <a:gd name="T6" fmla="*/ 104 w 230"/>
                <a:gd name="T7" fmla="*/ 3 h 210"/>
                <a:gd name="T8" fmla="*/ 158 w 230"/>
                <a:gd name="T9" fmla="*/ 10 h 210"/>
                <a:gd name="T10" fmla="*/ 214 w 230"/>
                <a:gd name="T11" fmla="*/ 132 h 210"/>
                <a:gd name="T12" fmla="*/ 123 w 230"/>
                <a:gd name="T13" fmla="*/ 209 h 210"/>
                <a:gd name="T14" fmla="*/ 110 w 230"/>
                <a:gd name="T15" fmla="*/ 210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0" h="210">
                  <a:moveTo>
                    <a:pt x="110" y="210"/>
                  </a:moveTo>
                  <a:cubicBezTo>
                    <a:pt x="97" y="210"/>
                    <a:pt x="83" y="207"/>
                    <a:pt x="71" y="202"/>
                  </a:cubicBezTo>
                  <a:cubicBezTo>
                    <a:pt x="36" y="187"/>
                    <a:pt x="0" y="148"/>
                    <a:pt x="12" y="83"/>
                  </a:cubicBezTo>
                  <a:cubicBezTo>
                    <a:pt x="21" y="38"/>
                    <a:pt x="59" y="5"/>
                    <a:pt x="104" y="3"/>
                  </a:cubicBezTo>
                  <a:cubicBezTo>
                    <a:pt x="123" y="0"/>
                    <a:pt x="141" y="3"/>
                    <a:pt x="158" y="10"/>
                  </a:cubicBezTo>
                  <a:cubicBezTo>
                    <a:pt x="186" y="23"/>
                    <a:pt x="230" y="62"/>
                    <a:pt x="214" y="132"/>
                  </a:cubicBezTo>
                  <a:cubicBezTo>
                    <a:pt x="204" y="176"/>
                    <a:pt x="166" y="206"/>
                    <a:pt x="123" y="209"/>
                  </a:cubicBezTo>
                  <a:cubicBezTo>
                    <a:pt x="119" y="210"/>
                    <a:pt x="114" y="210"/>
                    <a:pt x="110" y="210"/>
                  </a:cubicBezTo>
                  <a:close/>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64" name="Freeform 440">
              <a:extLst>
                <a:ext uri="{FF2B5EF4-FFF2-40B4-BE49-F238E27FC236}">
                  <a16:creationId xmlns:a16="http://schemas.microsoft.com/office/drawing/2014/main" id="{E970B027-92A1-4B5D-A95C-B0B41F05A7B5}"/>
                </a:ext>
              </a:extLst>
            </p:cNvPr>
            <p:cNvSpPr>
              <a:spLocks/>
            </p:cNvSpPr>
            <p:nvPr/>
          </p:nvSpPr>
          <p:spPr bwMode="auto">
            <a:xfrm>
              <a:off x="7567724" y="2698217"/>
              <a:ext cx="253112" cy="132181"/>
            </a:xfrm>
            <a:custGeom>
              <a:avLst/>
              <a:gdLst>
                <a:gd name="T0" fmla="*/ 3794 w 3894"/>
                <a:gd name="T1" fmla="*/ 2062 h 2062"/>
                <a:gd name="T2" fmla="*/ 3694 w 3894"/>
                <a:gd name="T3" fmla="*/ 1963 h 2062"/>
                <a:gd name="T4" fmla="*/ 3262 w 3894"/>
                <a:gd name="T5" fmla="*/ 828 h 2062"/>
                <a:gd name="T6" fmla="*/ 2063 w 3894"/>
                <a:gd name="T7" fmla="*/ 235 h 2062"/>
                <a:gd name="T8" fmla="*/ 796 w 3894"/>
                <a:gd name="T9" fmla="*/ 663 h 2062"/>
                <a:gd name="T10" fmla="*/ 203 w 3894"/>
                <a:gd name="T11" fmla="*/ 1846 h 2062"/>
                <a:gd name="T12" fmla="*/ 96 w 3894"/>
                <a:gd name="T13" fmla="*/ 1938 h 2062"/>
                <a:gd name="T14" fmla="*/ 5 w 3894"/>
                <a:gd name="T15" fmla="*/ 1831 h 2062"/>
                <a:gd name="T16" fmla="*/ 665 w 3894"/>
                <a:gd name="T17" fmla="*/ 512 h 2062"/>
                <a:gd name="T18" fmla="*/ 2077 w 3894"/>
                <a:gd name="T19" fmla="*/ 35 h 2062"/>
                <a:gd name="T20" fmla="*/ 3412 w 3894"/>
                <a:gd name="T21" fmla="*/ 697 h 2062"/>
                <a:gd name="T22" fmla="*/ 3894 w 3894"/>
                <a:gd name="T23" fmla="*/ 1961 h 2062"/>
                <a:gd name="T24" fmla="*/ 3795 w 3894"/>
                <a:gd name="T25" fmla="*/ 2062 h 2062"/>
                <a:gd name="T26" fmla="*/ 3794 w 3894"/>
                <a:gd name="T27" fmla="*/ 2062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94" h="2062">
                  <a:moveTo>
                    <a:pt x="3794" y="2062"/>
                  </a:moveTo>
                  <a:cubicBezTo>
                    <a:pt x="3739" y="2062"/>
                    <a:pt x="3695" y="2018"/>
                    <a:pt x="3694" y="1963"/>
                  </a:cubicBezTo>
                  <a:cubicBezTo>
                    <a:pt x="3690" y="1546"/>
                    <a:pt x="3537" y="1143"/>
                    <a:pt x="3262" y="828"/>
                  </a:cubicBezTo>
                  <a:cubicBezTo>
                    <a:pt x="2955" y="477"/>
                    <a:pt x="2529" y="266"/>
                    <a:pt x="2063" y="235"/>
                  </a:cubicBezTo>
                  <a:cubicBezTo>
                    <a:pt x="1598" y="203"/>
                    <a:pt x="1147" y="355"/>
                    <a:pt x="796" y="663"/>
                  </a:cubicBezTo>
                  <a:cubicBezTo>
                    <a:pt x="449" y="966"/>
                    <a:pt x="238" y="1386"/>
                    <a:pt x="203" y="1846"/>
                  </a:cubicBezTo>
                  <a:cubicBezTo>
                    <a:pt x="200" y="1901"/>
                    <a:pt x="151" y="1942"/>
                    <a:pt x="96" y="1938"/>
                  </a:cubicBezTo>
                  <a:cubicBezTo>
                    <a:pt x="41" y="1934"/>
                    <a:pt x="0" y="1886"/>
                    <a:pt x="5" y="1831"/>
                  </a:cubicBezTo>
                  <a:cubicBezTo>
                    <a:pt x="43" y="1319"/>
                    <a:pt x="278" y="850"/>
                    <a:pt x="665" y="512"/>
                  </a:cubicBezTo>
                  <a:cubicBezTo>
                    <a:pt x="1056" y="170"/>
                    <a:pt x="1558" y="0"/>
                    <a:pt x="2077" y="35"/>
                  </a:cubicBezTo>
                  <a:cubicBezTo>
                    <a:pt x="2596" y="70"/>
                    <a:pt x="3071" y="305"/>
                    <a:pt x="3412" y="697"/>
                  </a:cubicBezTo>
                  <a:cubicBezTo>
                    <a:pt x="3719" y="1047"/>
                    <a:pt x="3890" y="1496"/>
                    <a:pt x="3894" y="1961"/>
                  </a:cubicBezTo>
                  <a:cubicBezTo>
                    <a:pt x="3894" y="2016"/>
                    <a:pt x="3850" y="2062"/>
                    <a:pt x="3795" y="2062"/>
                  </a:cubicBezTo>
                  <a:lnTo>
                    <a:pt x="3794" y="2062"/>
                  </a:lnTo>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65" name="Freeform 441">
              <a:extLst>
                <a:ext uri="{FF2B5EF4-FFF2-40B4-BE49-F238E27FC236}">
                  <a16:creationId xmlns:a16="http://schemas.microsoft.com/office/drawing/2014/main" id="{B33D64C6-C529-4DC5-94E7-4B08A740063F}"/>
                </a:ext>
              </a:extLst>
            </p:cNvPr>
            <p:cNvSpPr>
              <a:spLocks/>
            </p:cNvSpPr>
            <p:nvPr/>
          </p:nvSpPr>
          <p:spPr bwMode="auto">
            <a:xfrm>
              <a:off x="7567724" y="2816336"/>
              <a:ext cx="22499" cy="59060"/>
            </a:xfrm>
            <a:custGeom>
              <a:avLst/>
              <a:gdLst>
                <a:gd name="T0" fmla="*/ 162 w 350"/>
                <a:gd name="T1" fmla="*/ 898 h 898"/>
                <a:gd name="T2" fmla="*/ 128 w 350"/>
                <a:gd name="T3" fmla="*/ 804 h 898"/>
                <a:gd name="T4" fmla="*/ 3 w 350"/>
                <a:gd name="T5" fmla="*/ 100 h 898"/>
                <a:gd name="T6" fmla="*/ 4 w 350"/>
                <a:gd name="T7" fmla="*/ 0 h 898"/>
                <a:gd name="T8" fmla="*/ 204 w 350"/>
                <a:gd name="T9" fmla="*/ 2 h 898"/>
                <a:gd name="T10" fmla="*/ 203 w 350"/>
                <a:gd name="T11" fmla="*/ 102 h 898"/>
                <a:gd name="T12" fmla="*/ 314 w 350"/>
                <a:gd name="T13" fmla="*/ 734 h 898"/>
                <a:gd name="T14" fmla="*/ 350 w 350"/>
                <a:gd name="T15" fmla="*/ 827 h 898"/>
                <a:gd name="T16" fmla="*/ 162 w 350"/>
                <a:gd name="T17" fmla="*/ 898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 h="898">
                  <a:moveTo>
                    <a:pt x="162" y="898"/>
                  </a:moveTo>
                  <a:lnTo>
                    <a:pt x="128" y="804"/>
                  </a:lnTo>
                  <a:cubicBezTo>
                    <a:pt x="42" y="579"/>
                    <a:pt x="0" y="342"/>
                    <a:pt x="3" y="100"/>
                  </a:cubicBezTo>
                  <a:lnTo>
                    <a:pt x="4" y="0"/>
                  </a:lnTo>
                  <a:lnTo>
                    <a:pt x="204" y="2"/>
                  </a:lnTo>
                  <a:lnTo>
                    <a:pt x="203" y="102"/>
                  </a:lnTo>
                  <a:cubicBezTo>
                    <a:pt x="201" y="319"/>
                    <a:pt x="238" y="532"/>
                    <a:pt x="314" y="734"/>
                  </a:cubicBezTo>
                  <a:lnTo>
                    <a:pt x="350" y="827"/>
                  </a:lnTo>
                  <a:lnTo>
                    <a:pt x="162" y="898"/>
                  </a:lnTo>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66" name="Freeform 442">
              <a:extLst>
                <a:ext uri="{FF2B5EF4-FFF2-40B4-BE49-F238E27FC236}">
                  <a16:creationId xmlns:a16="http://schemas.microsoft.com/office/drawing/2014/main" id="{BEC3946C-E881-4960-8C1F-766AAE9EBBD6}"/>
                </a:ext>
              </a:extLst>
            </p:cNvPr>
            <p:cNvSpPr>
              <a:spLocks/>
            </p:cNvSpPr>
            <p:nvPr/>
          </p:nvSpPr>
          <p:spPr bwMode="auto">
            <a:xfrm>
              <a:off x="7407419" y="2852895"/>
              <a:ext cx="241862" cy="222177"/>
            </a:xfrm>
            <a:custGeom>
              <a:avLst/>
              <a:gdLst>
                <a:gd name="T0" fmla="*/ 966 w 3735"/>
                <a:gd name="T1" fmla="*/ 3456 h 3456"/>
                <a:gd name="T2" fmla="*/ 339 w 3735"/>
                <a:gd name="T3" fmla="*/ 3182 h 3456"/>
                <a:gd name="T4" fmla="*/ 41 w 3735"/>
                <a:gd name="T5" fmla="*/ 2465 h 3456"/>
                <a:gd name="T6" fmla="*/ 256 w 3735"/>
                <a:gd name="T7" fmla="*/ 2004 h 3456"/>
                <a:gd name="T8" fmla="*/ 283 w 3735"/>
                <a:gd name="T9" fmla="*/ 1966 h 3456"/>
                <a:gd name="T10" fmla="*/ 2454 w 3735"/>
                <a:gd name="T11" fmla="*/ 65 h 3456"/>
                <a:gd name="T12" fmla="*/ 2529 w 3735"/>
                <a:gd name="T13" fmla="*/ 0 h 3456"/>
                <a:gd name="T14" fmla="*/ 2659 w 3735"/>
                <a:gd name="T15" fmla="*/ 153 h 3456"/>
                <a:gd name="T16" fmla="*/ 2583 w 3735"/>
                <a:gd name="T17" fmla="*/ 217 h 3456"/>
                <a:gd name="T18" fmla="*/ 449 w 3735"/>
                <a:gd name="T19" fmla="*/ 2078 h 3456"/>
                <a:gd name="T20" fmla="*/ 418 w 3735"/>
                <a:gd name="T21" fmla="*/ 2121 h 3456"/>
                <a:gd name="T22" fmla="*/ 474 w 3735"/>
                <a:gd name="T23" fmla="*/ 3035 h 3456"/>
                <a:gd name="T24" fmla="*/ 1307 w 3735"/>
                <a:gd name="T25" fmla="*/ 3152 h 3456"/>
                <a:gd name="T26" fmla="*/ 1356 w 3735"/>
                <a:gd name="T27" fmla="*/ 2693 h 3456"/>
                <a:gd name="T28" fmla="*/ 1457 w 3735"/>
                <a:gd name="T29" fmla="*/ 2604 h 3456"/>
                <a:gd name="T30" fmla="*/ 1877 w 3735"/>
                <a:gd name="T31" fmla="*/ 2609 h 3456"/>
                <a:gd name="T32" fmla="*/ 1911 w 3735"/>
                <a:gd name="T33" fmla="*/ 2184 h 3456"/>
                <a:gd name="T34" fmla="*/ 2018 w 3735"/>
                <a:gd name="T35" fmla="*/ 2092 h 3456"/>
                <a:gd name="T36" fmla="*/ 2491 w 3735"/>
                <a:gd name="T37" fmla="*/ 2122 h 3456"/>
                <a:gd name="T38" fmla="*/ 2559 w 3735"/>
                <a:gd name="T39" fmla="*/ 1664 h 3456"/>
                <a:gd name="T40" fmla="*/ 2668 w 3735"/>
                <a:gd name="T41" fmla="*/ 1580 h 3456"/>
                <a:gd name="T42" fmla="*/ 3095 w 3735"/>
                <a:gd name="T43" fmla="*/ 1621 h 3456"/>
                <a:gd name="T44" fmla="*/ 3608 w 3735"/>
                <a:gd name="T45" fmla="*/ 1201 h 3456"/>
                <a:gd name="T46" fmla="*/ 3735 w 3735"/>
                <a:gd name="T47" fmla="*/ 1356 h 3456"/>
                <a:gd name="T48" fmla="*/ 3190 w 3735"/>
                <a:gd name="T49" fmla="*/ 1802 h 3456"/>
                <a:gd name="T50" fmla="*/ 3117 w 3735"/>
                <a:gd name="T51" fmla="*/ 1824 h 3456"/>
                <a:gd name="T52" fmla="*/ 2744 w 3735"/>
                <a:gd name="T53" fmla="*/ 1788 h 3456"/>
                <a:gd name="T54" fmla="*/ 2675 w 3735"/>
                <a:gd name="T55" fmla="*/ 2242 h 3456"/>
                <a:gd name="T56" fmla="*/ 2570 w 3735"/>
                <a:gd name="T57" fmla="*/ 2327 h 3456"/>
                <a:gd name="T58" fmla="*/ 2103 w 3735"/>
                <a:gd name="T59" fmla="*/ 2298 h 3456"/>
                <a:gd name="T60" fmla="*/ 2069 w 3735"/>
                <a:gd name="T61" fmla="*/ 2718 h 3456"/>
                <a:gd name="T62" fmla="*/ 1968 w 3735"/>
                <a:gd name="T63" fmla="*/ 2810 h 3456"/>
                <a:gd name="T64" fmla="*/ 1546 w 3735"/>
                <a:gd name="T65" fmla="*/ 2805 h 3456"/>
                <a:gd name="T66" fmla="*/ 1501 w 3735"/>
                <a:gd name="T67" fmla="*/ 3216 h 3456"/>
                <a:gd name="T68" fmla="*/ 1468 w 3735"/>
                <a:gd name="T69" fmla="*/ 3281 h 3456"/>
                <a:gd name="T70" fmla="*/ 966 w 3735"/>
                <a:gd name="T71" fmla="*/ 3456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35" h="3456">
                  <a:moveTo>
                    <a:pt x="966" y="3456"/>
                  </a:moveTo>
                  <a:cubicBezTo>
                    <a:pt x="784" y="3456"/>
                    <a:pt x="566" y="3391"/>
                    <a:pt x="339" y="3182"/>
                  </a:cubicBezTo>
                  <a:cubicBezTo>
                    <a:pt x="101" y="2963"/>
                    <a:pt x="0" y="2722"/>
                    <a:pt x="41" y="2465"/>
                  </a:cubicBezTo>
                  <a:cubicBezTo>
                    <a:pt x="74" y="2258"/>
                    <a:pt x="193" y="2093"/>
                    <a:pt x="256" y="2004"/>
                  </a:cubicBezTo>
                  <a:cubicBezTo>
                    <a:pt x="267" y="1989"/>
                    <a:pt x="276" y="1977"/>
                    <a:pt x="283" y="1966"/>
                  </a:cubicBezTo>
                  <a:cubicBezTo>
                    <a:pt x="378" y="1823"/>
                    <a:pt x="2107" y="357"/>
                    <a:pt x="2454" y="65"/>
                  </a:cubicBezTo>
                  <a:lnTo>
                    <a:pt x="2529" y="0"/>
                  </a:lnTo>
                  <a:lnTo>
                    <a:pt x="2659" y="153"/>
                  </a:lnTo>
                  <a:lnTo>
                    <a:pt x="2583" y="217"/>
                  </a:lnTo>
                  <a:cubicBezTo>
                    <a:pt x="1801" y="878"/>
                    <a:pt x="531" y="1968"/>
                    <a:pt x="449" y="2078"/>
                  </a:cubicBezTo>
                  <a:cubicBezTo>
                    <a:pt x="442" y="2089"/>
                    <a:pt x="431" y="2104"/>
                    <a:pt x="418" y="2121"/>
                  </a:cubicBezTo>
                  <a:cubicBezTo>
                    <a:pt x="225" y="2391"/>
                    <a:pt x="97" y="2689"/>
                    <a:pt x="474" y="3035"/>
                  </a:cubicBezTo>
                  <a:cubicBezTo>
                    <a:pt x="871" y="3399"/>
                    <a:pt x="1207" y="3220"/>
                    <a:pt x="1307" y="3152"/>
                  </a:cubicBezTo>
                  <a:lnTo>
                    <a:pt x="1356" y="2693"/>
                  </a:lnTo>
                  <a:lnTo>
                    <a:pt x="1457" y="2604"/>
                  </a:lnTo>
                  <a:lnTo>
                    <a:pt x="1877" y="2609"/>
                  </a:lnTo>
                  <a:lnTo>
                    <a:pt x="1911" y="2184"/>
                  </a:lnTo>
                  <a:lnTo>
                    <a:pt x="2018" y="2092"/>
                  </a:lnTo>
                  <a:lnTo>
                    <a:pt x="2491" y="2122"/>
                  </a:lnTo>
                  <a:lnTo>
                    <a:pt x="2559" y="1664"/>
                  </a:lnTo>
                  <a:lnTo>
                    <a:pt x="2668" y="1580"/>
                  </a:lnTo>
                  <a:lnTo>
                    <a:pt x="3095" y="1621"/>
                  </a:lnTo>
                  <a:lnTo>
                    <a:pt x="3608" y="1201"/>
                  </a:lnTo>
                  <a:lnTo>
                    <a:pt x="3735" y="1356"/>
                  </a:lnTo>
                  <a:lnTo>
                    <a:pt x="3190" y="1802"/>
                  </a:lnTo>
                  <a:lnTo>
                    <a:pt x="3117" y="1824"/>
                  </a:lnTo>
                  <a:lnTo>
                    <a:pt x="2744" y="1788"/>
                  </a:lnTo>
                  <a:lnTo>
                    <a:pt x="2675" y="2242"/>
                  </a:lnTo>
                  <a:lnTo>
                    <a:pt x="2570" y="2327"/>
                  </a:lnTo>
                  <a:lnTo>
                    <a:pt x="2103" y="2298"/>
                  </a:lnTo>
                  <a:lnTo>
                    <a:pt x="2069" y="2718"/>
                  </a:lnTo>
                  <a:lnTo>
                    <a:pt x="1968" y="2810"/>
                  </a:lnTo>
                  <a:lnTo>
                    <a:pt x="1546" y="2805"/>
                  </a:lnTo>
                  <a:lnTo>
                    <a:pt x="1501" y="3216"/>
                  </a:lnTo>
                  <a:lnTo>
                    <a:pt x="1468" y="3281"/>
                  </a:lnTo>
                  <a:cubicBezTo>
                    <a:pt x="1464" y="3284"/>
                    <a:pt x="1262" y="3456"/>
                    <a:pt x="966" y="3456"/>
                  </a:cubicBezTo>
                  <a:close/>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67" name="Freeform 443">
              <a:extLst>
                <a:ext uri="{FF2B5EF4-FFF2-40B4-BE49-F238E27FC236}">
                  <a16:creationId xmlns:a16="http://schemas.microsoft.com/office/drawing/2014/main" id="{C95335E2-BF9A-4782-9FFD-064528722D38}"/>
                </a:ext>
              </a:extLst>
            </p:cNvPr>
            <p:cNvSpPr>
              <a:spLocks/>
            </p:cNvSpPr>
            <p:nvPr/>
          </p:nvSpPr>
          <p:spPr bwMode="auto">
            <a:xfrm>
              <a:off x="7632408" y="2881019"/>
              <a:ext cx="109683" cy="28124"/>
            </a:xfrm>
            <a:custGeom>
              <a:avLst/>
              <a:gdLst>
                <a:gd name="T0" fmla="*/ 951 w 1720"/>
                <a:gd name="T1" fmla="*/ 446 h 446"/>
                <a:gd name="T2" fmla="*/ 86 w 1720"/>
                <a:gd name="T3" fmla="*/ 223 h 446"/>
                <a:gd name="T4" fmla="*/ 0 w 1720"/>
                <a:gd name="T5" fmla="*/ 172 h 446"/>
                <a:gd name="T6" fmla="*/ 102 w 1720"/>
                <a:gd name="T7" fmla="*/ 0 h 446"/>
                <a:gd name="T8" fmla="*/ 188 w 1720"/>
                <a:gd name="T9" fmla="*/ 51 h 446"/>
                <a:gd name="T10" fmla="*/ 1542 w 1720"/>
                <a:gd name="T11" fmla="*/ 110 h 446"/>
                <a:gd name="T12" fmla="*/ 1632 w 1720"/>
                <a:gd name="T13" fmla="*/ 66 h 446"/>
                <a:gd name="T14" fmla="*/ 1720 w 1720"/>
                <a:gd name="T15" fmla="*/ 246 h 446"/>
                <a:gd name="T16" fmla="*/ 1630 w 1720"/>
                <a:gd name="T17" fmla="*/ 290 h 446"/>
                <a:gd name="T18" fmla="*/ 951 w 1720"/>
                <a:gd name="T19"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0" h="446">
                  <a:moveTo>
                    <a:pt x="951" y="446"/>
                  </a:moveTo>
                  <a:cubicBezTo>
                    <a:pt x="472" y="446"/>
                    <a:pt x="107" y="236"/>
                    <a:pt x="86" y="223"/>
                  </a:cubicBezTo>
                  <a:lnTo>
                    <a:pt x="0" y="172"/>
                  </a:lnTo>
                  <a:lnTo>
                    <a:pt x="102" y="0"/>
                  </a:lnTo>
                  <a:lnTo>
                    <a:pt x="188" y="51"/>
                  </a:lnTo>
                  <a:cubicBezTo>
                    <a:pt x="194" y="54"/>
                    <a:pt x="867" y="441"/>
                    <a:pt x="1542" y="110"/>
                  </a:cubicBezTo>
                  <a:lnTo>
                    <a:pt x="1632" y="66"/>
                  </a:lnTo>
                  <a:lnTo>
                    <a:pt x="1720" y="246"/>
                  </a:lnTo>
                  <a:lnTo>
                    <a:pt x="1630" y="290"/>
                  </a:lnTo>
                  <a:cubicBezTo>
                    <a:pt x="1395" y="405"/>
                    <a:pt x="1161" y="446"/>
                    <a:pt x="951" y="446"/>
                  </a:cubicBezTo>
                  <a:close/>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68" name="Freeform 444">
              <a:extLst>
                <a:ext uri="{FF2B5EF4-FFF2-40B4-BE49-F238E27FC236}">
                  <a16:creationId xmlns:a16="http://schemas.microsoft.com/office/drawing/2014/main" id="{ABB90E22-B06E-4C70-8F26-DF687EF18A77}"/>
                </a:ext>
              </a:extLst>
            </p:cNvPr>
            <p:cNvSpPr>
              <a:spLocks/>
            </p:cNvSpPr>
            <p:nvPr/>
          </p:nvSpPr>
          <p:spPr bwMode="auto">
            <a:xfrm>
              <a:off x="7750526" y="2866958"/>
              <a:ext cx="19687" cy="16874"/>
            </a:xfrm>
            <a:custGeom>
              <a:avLst/>
              <a:gdLst>
                <a:gd name="T0" fmla="*/ 139 w 304"/>
                <a:gd name="T1" fmla="*/ 282 h 282"/>
                <a:gd name="T2" fmla="*/ 0 w 304"/>
                <a:gd name="T3" fmla="*/ 137 h 282"/>
                <a:gd name="T4" fmla="*/ 73 w 304"/>
                <a:gd name="T5" fmla="*/ 68 h 282"/>
                <a:gd name="T6" fmla="*/ 121 w 304"/>
                <a:gd name="T7" fmla="*/ 40 h 282"/>
                <a:gd name="T8" fmla="*/ 159 w 304"/>
                <a:gd name="T9" fmla="*/ 0 h 282"/>
                <a:gd name="T10" fmla="*/ 304 w 304"/>
                <a:gd name="T11" fmla="*/ 138 h 282"/>
                <a:gd name="T12" fmla="*/ 234 w 304"/>
                <a:gd name="T13" fmla="*/ 210 h 282"/>
                <a:gd name="T14" fmla="*/ 178 w 304"/>
                <a:gd name="T15" fmla="*/ 244 h 282"/>
                <a:gd name="T16" fmla="*/ 139 w 304"/>
                <a:gd name="T17"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4" h="282">
                  <a:moveTo>
                    <a:pt x="139" y="282"/>
                  </a:moveTo>
                  <a:lnTo>
                    <a:pt x="0" y="137"/>
                  </a:lnTo>
                  <a:lnTo>
                    <a:pt x="73" y="68"/>
                  </a:lnTo>
                  <a:cubicBezTo>
                    <a:pt x="89" y="53"/>
                    <a:pt x="105" y="44"/>
                    <a:pt x="121" y="40"/>
                  </a:cubicBezTo>
                  <a:lnTo>
                    <a:pt x="159" y="0"/>
                  </a:lnTo>
                  <a:lnTo>
                    <a:pt x="304" y="138"/>
                  </a:lnTo>
                  <a:lnTo>
                    <a:pt x="234" y="210"/>
                  </a:lnTo>
                  <a:cubicBezTo>
                    <a:pt x="215" y="230"/>
                    <a:pt x="196" y="240"/>
                    <a:pt x="178" y="244"/>
                  </a:cubicBezTo>
                  <a:lnTo>
                    <a:pt x="139" y="282"/>
                  </a:lnTo>
                  <a:close/>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69" name="Freeform 445">
              <a:extLst>
                <a:ext uri="{FF2B5EF4-FFF2-40B4-BE49-F238E27FC236}">
                  <a16:creationId xmlns:a16="http://schemas.microsoft.com/office/drawing/2014/main" id="{35875A73-CAB4-4633-A8F0-CB3C93334455}"/>
                </a:ext>
              </a:extLst>
            </p:cNvPr>
            <p:cNvSpPr>
              <a:spLocks noEditPoints="1"/>
            </p:cNvSpPr>
            <p:nvPr/>
          </p:nvSpPr>
          <p:spPr bwMode="auto">
            <a:xfrm>
              <a:off x="7683030" y="2754464"/>
              <a:ext cx="92809" cy="87184"/>
            </a:xfrm>
            <a:custGeom>
              <a:avLst/>
              <a:gdLst>
                <a:gd name="T0" fmla="*/ 671 w 1410"/>
                <a:gd name="T1" fmla="*/ 200 h 1323"/>
                <a:gd name="T2" fmla="*/ 368 w 1410"/>
                <a:gd name="T3" fmla="*/ 314 h 1323"/>
                <a:gd name="T4" fmla="*/ 212 w 1410"/>
                <a:gd name="T5" fmla="*/ 630 h 1323"/>
                <a:gd name="T6" fmla="*/ 325 w 1410"/>
                <a:gd name="T7" fmla="*/ 965 h 1323"/>
                <a:gd name="T8" fmla="*/ 672 w 1410"/>
                <a:gd name="T9" fmla="*/ 1123 h 1323"/>
                <a:gd name="T10" fmla="*/ 976 w 1410"/>
                <a:gd name="T11" fmla="*/ 1009 h 1323"/>
                <a:gd name="T12" fmla="*/ 1019 w 1410"/>
                <a:gd name="T13" fmla="*/ 358 h 1323"/>
                <a:gd name="T14" fmla="*/ 671 w 1410"/>
                <a:gd name="T15" fmla="*/ 200 h 1323"/>
                <a:gd name="T16" fmla="*/ 672 w 1410"/>
                <a:gd name="T17" fmla="*/ 1323 h 1323"/>
                <a:gd name="T18" fmla="*/ 174 w 1410"/>
                <a:gd name="T19" fmla="*/ 1096 h 1323"/>
                <a:gd name="T20" fmla="*/ 12 w 1410"/>
                <a:gd name="T21" fmla="*/ 617 h 1323"/>
                <a:gd name="T22" fmla="*/ 237 w 1410"/>
                <a:gd name="T23" fmla="*/ 163 h 1323"/>
                <a:gd name="T24" fmla="*/ 671 w 1410"/>
                <a:gd name="T25" fmla="*/ 0 h 1323"/>
                <a:gd name="T26" fmla="*/ 1170 w 1410"/>
                <a:gd name="T27" fmla="*/ 226 h 1323"/>
                <a:gd name="T28" fmla="*/ 1107 w 1410"/>
                <a:gd name="T29" fmla="*/ 1159 h 1323"/>
                <a:gd name="T30" fmla="*/ 672 w 1410"/>
                <a:gd name="T31" fmla="*/ 1323 h 1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0" h="1323">
                  <a:moveTo>
                    <a:pt x="671" y="200"/>
                  </a:moveTo>
                  <a:cubicBezTo>
                    <a:pt x="560" y="200"/>
                    <a:pt x="453" y="241"/>
                    <a:pt x="368" y="314"/>
                  </a:cubicBezTo>
                  <a:cubicBezTo>
                    <a:pt x="276" y="395"/>
                    <a:pt x="220" y="507"/>
                    <a:pt x="212" y="630"/>
                  </a:cubicBezTo>
                  <a:cubicBezTo>
                    <a:pt x="203" y="753"/>
                    <a:pt x="244" y="872"/>
                    <a:pt x="325" y="965"/>
                  </a:cubicBezTo>
                  <a:cubicBezTo>
                    <a:pt x="412" y="1065"/>
                    <a:pt x="539" y="1123"/>
                    <a:pt x="672" y="1123"/>
                  </a:cubicBezTo>
                  <a:cubicBezTo>
                    <a:pt x="784" y="1123"/>
                    <a:pt x="891" y="1082"/>
                    <a:pt x="976" y="1009"/>
                  </a:cubicBezTo>
                  <a:cubicBezTo>
                    <a:pt x="1167" y="841"/>
                    <a:pt x="1187" y="549"/>
                    <a:pt x="1019" y="358"/>
                  </a:cubicBezTo>
                  <a:cubicBezTo>
                    <a:pt x="932" y="258"/>
                    <a:pt x="805" y="200"/>
                    <a:pt x="671" y="200"/>
                  </a:cubicBezTo>
                  <a:close/>
                  <a:moveTo>
                    <a:pt x="672" y="1323"/>
                  </a:moveTo>
                  <a:cubicBezTo>
                    <a:pt x="481" y="1323"/>
                    <a:pt x="299" y="1240"/>
                    <a:pt x="174" y="1096"/>
                  </a:cubicBezTo>
                  <a:cubicBezTo>
                    <a:pt x="58" y="963"/>
                    <a:pt x="0" y="793"/>
                    <a:pt x="12" y="617"/>
                  </a:cubicBezTo>
                  <a:cubicBezTo>
                    <a:pt x="24" y="441"/>
                    <a:pt x="104" y="280"/>
                    <a:pt x="237" y="163"/>
                  </a:cubicBezTo>
                  <a:cubicBezTo>
                    <a:pt x="357" y="58"/>
                    <a:pt x="512" y="0"/>
                    <a:pt x="671" y="0"/>
                  </a:cubicBezTo>
                  <a:cubicBezTo>
                    <a:pt x="862" y="0"/>
                    <a:pt x="1044" y="83"/>
                    <a:pt x="1170" y="226"/>
                  </a:cubicBezTo>
                  <a:cubicBezTo>
                    <a:pt x="1410" y="501"/>
                    <a:pt x="1381" y="919"/>
                    <a:pt x="1107" y="1159"/>
                  </a:cubicBezTo>
                  <a:cubicBezTo>
                    <a:pt x="987" y="1265"/>
                    <a:pt x="832" y="1323"/>
                    <a:pt x="672" y="1323"/>
                  </a:cubicBezTo>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70" name="Freeform 446">
              <a:extLst>
                <a:ext uri="{FF2B5EF4-FFF2-40B4-BE49-F238E27FC236}">
                  <a16:creationId xmlns:a16="http://schemas.microsoft.com/office/drawing/2014/main" id="{E82057AD-AD82-497C-A2EF-F05B43E0CF4E}"/>
                </a:ext>
              </a:extLst>
            </p:cNvPr>
            <p:cNvSpPr>
              <a:spLocks/>
            </p:cNvSpPr>
            <p:nvPr/>
          </p:nvSpPr>
          <p:spPr bwMode="auto">
            <a:xfrm>
              <a:off x="7441168" y="2982263"/>
              <a:ext cx="50622" cy="44998"/>
            </a:xfrm>
            <a:custGeom>
              <a:avLst/>
              <a:gdLst>
                <a:gd name="T0" fmla="*/ 3 w 18"/>
                <a:gd name="T1" fmla="*/ 16 h 16"/>
                <a:gd name="T2" fmla="*/ 0 w 18"/>
                <a:gd name="T3" fmla="*/ 12 h 16"/>
                <a:gd name="T4" fmla="*/ 15 w 18"/>
                <a:gd name="T5" fmla="*/ 0 h 16"/>
                <a:gd name="T6" fmla="*/ 18 w 18"/>
                <a:gd name="T7" fmla="*/ 3 h 16"/>
                <a:gd name="T8" fmla="*/ 3 w 18"/>
                <a:gd name="T9" fmla="*/ 16 h 16"/>
              </a:gdLst>
              <a:ahLst/>
              <a:cxnLst>
                <a:cxn ang="0">
                  <a:pos x="T0" y="T1"/>
                </a:cxn>
                <a:cxn ang="0">
                  <a:pos x="T2" y="T3"/>
                </a:cxn>
                <a:cxn ang="0">
                  <a:pos x="T4" y="T5"/>
                </a:cxn>
                <a:cxn ang="0">
                  <a:pos x="T6" y="T7"/>
                </a:cxn>
                <a:cxn ang="0">
                  <a:pos x="T8" y="T9"/>
                </a:cxn>
              </a:cxnLst>
              <a:rect l="0" t="0" r="r" b="b"/>
              <a:pathLst>
                <a:path w="18" h="16">
                  <a:moveTo>
                    <a:pt x="3" y="16"/>
                  </a:moveTo>
                  <a:lnTo>
                    <a:pt x="0" y="12"/>
                  </a:lnTo>
                  <a:lnTo>
                    <a:pt x="15" y="0"/>
                  </a:lnTo>
                  <a:lnTo>
                    <a:pt x="18" y="3"/>
                  </a:lnTo>
                  <a:lnTo>
                    <a:pt x="3" y="16"/>
                  </a:lnTo>
                  <a:close/>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71" name="Freeform 447">
              <a:extLst>
                <a:ext uri="{FF2B5EF4-FFF2-40B4-BE49-F238E27FC236}">
                  <a16:creationId xmlns:a16="http://schemas.microsoft.com/office/drawing/2014/main" id="{5B3E9453-8418-4677-9A75-584F7C84B0E0}"/>
                </a:ext>
              </a:extLst>
            </p:cNvPr>
            <p:cNvSpPr>
              <a:spLocks/>
            </p:cNvSpPr>
            <p:nvPr/>
          </p:nvSpPr>
          <p:spPr bwMode="auto">
            <a:xfrm>
              <a:off x="7503039" y="2883832"/>
              <a:ext cx="95620" cy="89995"/>
            </a:xfrm>
            <a:custGeom>
              <a:avLst/>
              <a:gdLst>
                <a:gd name="T0" fmla="*/ 3 w 34"/>
                <a:gd name="T1" fmla="*/ 32 h 32"/>
                <a:gd name="T2" fmla="*/ 0 w 34"/>
                <a:gd name="T3" fmla="*/ 28 h 32"/>
                <a:gd name="T4" fmla="*/ 31 w 34"/>
                <a:gd name="T5" fmla="*/ 0 h 32"/>
                <a:gd name="T6" fmla="*/ 34 w 34"/>
                <a:gd name="T7" fmla="*/ 4 h 32"/>
                <a:gd name="T8" fmla="*/ 3 w 34"/>
                <a:gd name="T9" fmla="*/ 32 h 32"/>
              </a:gdLst>
              <a:ahLst/>
              <a:cxnLst>
                <a:cxn ang="0">
                  <a:pos x="T0" y="T1"/>
                </a:cxn>
                <a:cxn ang="0">
                  <a:pos x="T2" y="T3"/>
                </a:cxn>
                <a:cxn ang="0">
                  <a:pos x="T4" y="T5"/>
                </a:cxn>
                <a:cxn ang="0">
                  <a:pos x="T6" y="T7"/>
                </a:cxn>
                <a:cxn ang="0">
                  <a:pos x="T8" y="T9"/>
                </a:cxn>
              </a:cxnLst>
              <a:rect l="0" t="0" r="r" b="b"/>
              <a:pathLst>
                <a:path w="34" h="32">
                  <a:moveTo>
                    <a:pt x="3" y="32"/>
                  </a:moveTo>
                  <a:lnTo>
                    <a:pt x="0" y="28"/>
                  </a:lnTo>
                  <a:lnTo>
                    <a:pt x="31" y="0"/>
                  </a:lnTo>
                  <a:lnTo>
                    <a:pt x="34" y="4"/>
                  </a:lnTo>
                  <a:lnTo>
                    <a:pt x="3" y="32"/>
                  </a:lnTo>
                  <a:close/>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grpSp>
      <p:grpSp>
        <p:nvGrpSpPr>
          <p:cNvPr id="100" name="Big_data2" descr="{&quot;Key&quot;:&quot;POWER_USER_SHAPE_ICON&quot;,&quot;Value&quot;:&quot;POWER_USER_SHAPE_ICON_STYLE_1&quot;}">
            <a:extLst>
              <a:ext uri="{FF2B5EF4-FFF2-40B4-BE49-F238E27FC236}">
                <a16:creationId xmlns:a16="http://schemas.microsoft.com/office/drawing/2014/main" id="{00EB6592-071C-4753-9D2C-42C4BE77D457}"/>
              </a:ext>
            </a:extLst>
          </p:cNvPr>
          <p:cNvGrpSpPr>
            <a:grpSpLocks noChangeAspect="1"/>
          </p:cNvGrpSpPr>
          <p:nvPr/>
        </p:nvGrpSpPr>
        <p:grpSpPr>
          <a:xfrm>
            <a:off x="6342216" y="3627331"/>
            <a:ext cx="528608" cy="914400"/>
            <a:chOff x="5191125" y="309563"/>
            <a:chExt cx="452438" cy="782638"/>
          </a:xfrm>
          <a:noFill/>
        </p:grpSpPr>
        <p:sp>
          <p:nvSpPr>
            <p:cNvPr id="101" name="Freeform 98">
              <a:extLst>
                <a:ext uri="{FF2B5EF4-FFF2-40B4-BE49-F238E27FC236}">
                  <a16:creationId xmlns:a16="http://schemas.microsoft.com/office/drawing/2014/main" id="{9D9DCE70-05B3-42FD-BB24-014C0080B7EA}"/>
                </a:ext>
              </a:extLst>
            </p:cNvPr>
            <p:cNvSpPr>
              <a:spLocks/>
            </p:cNvSpPr>
            <p:nvPr/>
          </p:nvSpPr>
          <p:spPr bwMode="auto">
            <a:xfrm>
              <a:off x="5354638" y="1041400"/>
              <a:ext cx="125413" cy="46038"/>
            </a:xfrm>
            <a:custGeom>
              <a:avLst/>
              <a:gdLst>
                <a:gd name="T0" fmla="*/ 153 w 186"/>
                <a:gd name="T1" fmla="*/ 67 h 67"/>
                <a:gd name="T2" fmla="*/ 33 w 186"/>
                <a:gd name="T3" fmla="*/ 67 h 67"/>
                <a:gd name="T4" fmla="*/ 0 w 186"/>
                <a:gd name="T5" fmla="*/ 34 h 67"/>
                <a:gd name="T6" fmla="*/ 0 w 186"/>
                <a:gd name="T7" fmla="*/ 34 h 67"/>
                <a:gd name="T8" fmla="*/ 33 w 186"/>
                <a:gd name="T9" fmla="*/ 0 h 67"/>
                <a:gd name="T10" fmla="*/ 153 w 186"/>
                <a:gd name="T11" fmla="*/ 0 h 67"/>
                <a:gd name="T12" fmla="*/ 186 w 186"/>
                <a:gd name="T13" fmla="*/ 34 h 67"/>
                <a:gd name="T14" fmla="*/ 186 w 186"/>
                <a:gd name="T15" fmla="*/ 34 h 67"/>
                <a:gd name="T16" fmla="*/ 153 w 186"/>
                <a:gd name="T17"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67">
                  <a:moveTo>
                    <a:pt x="153" y="67"/>
                  </a:moveTo>
                  <a:lnTo>
                    <a:pt x="33" y="67"/>
                  </a:lnTo>
                  <a:cubicBezTo>
                    <a:pt x="15" y="67"/>
                    <a:pt x="0" y="52"/>
                    <a:pt x="0" y="34"/>
                  </a:cubicBezTo>
                  <a:lnTo>
                    <a:pt x="0" y="34"/>
                  </a:lnTo>
                  <a:cubicBezTo>
                    <a:pt x="0" y="15"/>
                    <a:pt x="15" y="0"/>
                    <a:pt x="33" y="0"/>
                  </a:cubicBezTo>
                  <a:lnTo>
                    <a:pt x="153" y="0"/>
                  </a:lnTo>
                  <a:cubicBezTo>
                    <a:pt x="171" y="0"/>
                    <a:pt x="186" y="15"/>
                    <a:pt x="186" y="34"/>
                  </a:cubicBezTo>
                  <a:lnTo>
                    <a:pt x="186" y="34"/>
                  </a:lnTo>
                  <a:cubicBezTo>
                    <a:pt x="186" y="52"/>
                    <a:pt x="171" y="67"/>
                    <a:pt x="153" y="67"/>
                  </a:cubicBezTo>
                  <a:close/>
                </a:path>
              </a:pathLst>
            </a:custGeom>
            <a:grpFill/>
            <a:ln w="38100">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02" name="Oval 99">
              <a:extLst>
                <a:ext uri="{FF2B5EF4-FFF2-40B4-BE49-F238E27FC236}">
                  <a16:creationId xmlns:a16="http://schemas.microsoft.com/office/drawing/2014/main" id="{402C9CD4-FC24-4108-A019-9ECA49BD4C33}"/>
                </a:ext>
              </a:extLst>
            </p:cNvPr>
            <p:cNvSpPr>
              <a:spLocks noChangeArrowheads="1"/>
            </p:cNvSpPr>
            <p:nvPr/>
          </p:nvSpPr>
          <p:spPr bwMode="auto">
            <a:xfrm>
              <a:off x="5200650" y="315913"/>
              <a:ext cx="433388" cy="166688"/>
            </a:xfrm>
            <a:prstGeom prst="ellipse">
              <a:avLst/>
            </a:prstGeom>
            <a:grpFill/>
            <a:ln w="38100">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03" name="Freeform 100">
              <a:extLst>
                <a:ext uri="{FF2B5EF4-FFF2-40B4-BE49-F238E27FC236}">
                  <a16:creationId xmlns:a16="http://schemas.microsoft.com/office/drawing/2014/main" id="{56012A98-4ECE-43AC-8A46-1804762F8E5E}"/>
                </a:ext>
              </a:extLst>
            </p:cNvPr>
            <p:cNvSpPr>
              <a:spLocks/>
            </p:cNvSpPr>
            <p:nvPr/>
          </p:nvSpPr>
          <p:spPr bwMode="auto">
            <a:xfrm>
              <a:off x="5200650" y="415925"/>
              <a:ext cx="433388" cy="534988"/>
            </a:xfrm>
            <a:custGeom>
              <a:avLst/>
              <a:gdLst>
                <a:gd name="T0" fmla="*/ 642 w 643"/>
                <a:gd name="T1" fmla="*/ 668 h 792"/>
                <a:gd name="T2" fmla="*/ 642 w 643"/>
                <a:gd name="T3" fmla="*/ 676 h 792"/>
                <a:gd name="T4" fmla="*/ 321 w 643"/>
                <a:gd name="T5" fmla="*/ 791 h 792"/>
                <a:gd name="T6" fmla="*/ 0 w 643"/>
                <a:gd name="T7" fmla="*/ 677 h 792"/>
                <a:gd name="T8" fmla="*/ 0 w 643"/>
                <a:gd name="T9" fmla="*/ 668 h 792"/>
                <a:gd name="T10" fmla="*/ 0 w 643"/>
                <a:gd name="T11" fmla="*/ 0 h 792"/>
                <a:gd name="T12" fmla="*/ 65 w 643"/>
                <a:gd name="T13" fmla="*/ 46 h 792"/>
                <a:gd name="T14" fmla="*/ 303 w 643"/>
                <a:gd name="T15" fmla="*/ 96 h 792"/>
                <a:gd name="T16" fmla="*/ 558 w 643"/>
                <a:gd name="T17" fmla="*/ 54 h 792"/>
                <a:gd name="T18" fmla="*/ 642 w 643"/>
                <a:gd name="T19" fmla="*/ 6 h 792"/>
                <a:gd name="T20" fmla="*/ 642 w 643"/>
                <a:gd name="T21" fmla="*/ 668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3" h="792">
                  <a:moveTo>
                    <a:pt x="642" y="668"/>
                  </a:moveTo>
                  <a:cubicBezTo>
                    <a:pt x="642" y="670"/>
                    <a:pt x="643" y="673"/>
                    <a:pt x="642" y="676"/>
                  </a:cubicBezTo>
                  <a:cubicBezTo>
                    <a:pt x="636" y="743"/>
                    <a:pt x="458" y="790"/>
                    <a:pt x="321" y="791"/>
                  </a:cubicBezTo>
                  <a:cubicBezTo>
                    <a:pt x="193" y="792"/>
                    <a:pt x="14" y="753"/>
                    <a:pt x="0" y="677"/>
                  </a:cubicBezTo>
                  <a:cubicBezTo>
                    <a:pt x="0" y="674"/>
                    <a:pt x="0" y="670"/>
                    <a:pt x="0" y="668"/>
                  </a:cubicBezTo>
                  <a:lnTo>
                    <a:pt x="0" y="0"/>
                  </a:lnTo>
                  <a:cubicBezTo>
                    <a:pt x="14" y="13"/>
                    <a:pt x="36" y="30"/>
                    <a:pt x="65" y="46"/>
                  </a:cubicBezTo>
                  <a:cubicBezTo>
                    <a:pt x="148" y="92"/>
                    <a:pt x="225" y="95"/>
                    <a:pt x="303" y="96"/>
                  </a:cubicBezTo>
                  <a:cubicBezTo>
                    <a:pt x="371" y="98"/>
                    <a:pt x="459" y="99"/>
                    <a:pt x="558" y="54"/>
                  </a:cubicBezTo>
                  <a:cubicBezTo>
                    <a:pt x="594" y="38"/>
                    <a:pt x="623" y="20"/>
                    <a:pt x="642" y="6"/>
                  </a:cubicBezTo>
                  <a:lnTo>
                    <a:pt x="642" y="668"/>
                  </a:lnTo>
                </a:path>
              </a:pathLst>
            </a:custGeom>
            <a:grpFill/>
            <a:ln w="38100">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04" name="Freeform 101">
              <a:extLst>
                <a:ext uri="{FF2B5EF4-FFF2-40B4-BE49-F238E27FC236}">
                  <a16:creationId xmlns:a16="http://schemas.microsoft.com/office/drawing/2014/main" id="{5600BC56-755E-4518-81FC-043BC2D9B2D6}"/>
                </a:ext>
              </a:extLst>
            </p:cNvPr>
            <p:cNvSpPr>
              <a:spLocks/>
            </p:cNvSpPr>
            <p:nvPr/>
          </p:nvSpPr>
          <p:spPr bwMode="auto">
            <a:xfrm>
              <a:off x="5200650" y="555625"/>
              <a:ext cx="433388" cy="239713"/>
            </a:xfrm>
            <a:custGeom>
              <a:avLst/>
              <a:gdLst>
                <a:gd name="T0" fmla="*/ 0 w 642"/>
                <a:gd name="T1" fmla="*/ 232 h 355"/>
                <a:gd name="T2" fmla="*/ 321 w 642"/>
                <a:gd name="T3" fmla="*/ 355 h 355"/>
                <a:gd name="T4" fmla="*/ 642 w 642"/>
                <a:gd name="T5" fmla="*/ 232 h 355"/>
                <a:gd name="T6" fmla="*/ 642 w 642"/>
                <a:gd name="T7" fmla="*/ 0 h 355"/>
                <a:gd name="T8" fmla="*/ 321 w 642"/>
                <a:gd name="T9" fmla="*/ 123 h 355"/>
                <a:gd name="T10" fmla="*/ 0 w 642"/>
                <a:gd name="T11" fmla="*/ 0 h 355"/>
                <a:gd name="T12" fmla="*/ 0 w 642"/>
                <a:gd name="T13" fmla="*/ 232 h 355"/>
              </a:gdLst>
              <a:ahLst/>
              <a:cxnLst>
                <a:cxn ang="0">
                  <a:pos x="T0" y="T1"/>
                </a:cxn>
                <a:cxn ang="0">
                  <a:pos x="T2" y="T3"/>
                </a:cxn>
                <a:cxn ang="0">
                  <a:pos x="T4" y="T5"/>
                </a:cxn>
                <a:cxn ang="0">
                  <a:pos x="T6" y="T7"/>
                </a:cxn>
                <a:cxn ang="0">
                  <a:pos x="T8" y="T9"/>
                </a:cxn>
                <a:cxn ang="0">
                  <a:pos x="T10" y="T11"/>
                </a:cxn>
                <a:cxn ang="0">
                  <a:pos x="T12" y="T13"/>
                </a:cxn>
              </a:cxnLst>
              <a:rect l="0" t="0" r="r" b="b"/>
              <a:pathLst>
                <a:path w="642" h="355">
                  <a:moveTo>
                    <a:pt x="0" y="232"/>
                  </a:moveTo>
                  <a:cubicBezTo>
                    <a:pt x="0" y="300"/>
                    <a:pt x="143" y="355"/>
                    <a:pt x="321" y="355"/>
                  </a:cubicBezTo>
                  <a:cubicBezTo>
                    <a:pt x="498" y="355"/>
                    <a:pt x="642" y="300"/>
                    <a:pt x="642" y="232"/>
                  </a:cubicBezTo>
                  <a:lnTo>
                    <a:pt x="642" y="0"/>
                  </a:lnTo>
                  <a:cubicBezTo>
                    <a:pt x="642" y="68"/>
                    <a:pt x="498" y="123"/>
                    <a:pt x="321" y="123"/>
                  </a:cubicBezTo>
                  <a:cubicBezTo>
                    <a:pt x="143" y="123"/>
                    <a:pt x="0" y="68"/>
                    <a:pt x="0" y="0"/>
                  </a:cubicBezTo>
                  <a:lnTo>
                    <a:pt x="0" y="232"/>
                  </a:lnTo>
                  <a:close/>
                </a:path>
              </a:pathLst>
            </a:custGeom>
            <a:grpFill/>
            <a:ln w="38100">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05" name="Rectangle 102">
              <a:extLst>
                <a:ext uri="{FF2B5EF4-FFF2-40B4-BE49-F238E27FC236}">
                  <a16:creationId xmlns:a16="http://schemas.microsoft.com/office/drawing/2014/main" id="{B9D65FAE-0F5D-4A08-9F49-87BD6A5913E9}"/>
                </a:ext>
              </a:extLst>
            </p:cNvPr>
            <p:cNvSpPr>
              <a:spLocks noChangeArrowheads="1"/>
            </p:cNvSpPr>
            <p:nvPr/>
          </p:nvSpPr>
          <p:spPr bwMode="auto">
            <a:xfrm>
              <a:off x="5400675" y="393700"/>
              <a:ext cx="33338" cy="11113"/>
            </a:xfrm>
            <a:prstGeom prst="rect">
              <a:avLst/>
            </a:prstGeom>
            <a:grpFill/>
            <a:ln w="38100">
              <a:solidFill>
                <a:srgbClr val="0070C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06" name="Freeform 103">
              <a:extLst>
                <a:ext uri="{FF2B5EF4-FFF2-40B4-BE49-F238E27FC236}">
                  <a16:creationId xmlns:a16="http://schemas.microsoft.com/office/drawing/2014/main" id="{8285F5DC-995F-4743-8D31-7775D8430FFD}"/>
                </a:ext>
              </a:extLst>
            </p:cNvPr>
            <p:cNvSpPr>
              <a:spLocks noEditPoints="1"/>
            </p:cNvSpPr>
            <p:nvPr/>
          </p:nvSpPr>
          <p:spPr bwMode="auto">
            <a:xfrm>
              <a:off x="5195888" y="309563"/>
              <a:ext cx="444500" cy="177800"/>
            </a:xfrm>
            <a:custGeom>
              <a:avLst/>
              <a:gdLst>
                <a:gd name="T0" fmla="*/ 330 w 660"/>
                <a:gd name="T1" fmla="*/ 17 h 263"/>
                <a:gd name="T2" fmla="*/ 17 w 660"/>
                <a:gd name="T3" fmla="*/ 131 h 263"/>
                <a:gd name="T4" fmla="*/ 330 w 660"/>
                <a:gd name="T5" fmla="*/ 246 h 263"/>
                <a:gd name="T6" fmla="*/ 643 w 660"/>
                <a:gd name="T7" fmla="*/ 131 h 263"/>
                <a:gd name="T8" fmla="*/ 330 w 660"/>
                <a:gd name="T9" fmla="*/ 17 h 263"/>
                <a:gd name="T10" fmla="*/ 330 w 660"/>
                <a:gd name="T11" fmla="*/ 263 h 263"/>
                <a:gd name="T12" fmla="*/ 0 w 660"/>
                <a:gd name="T13" fmla="*/ 131 h 263"/>
                <a:gd name="T14" fmla="*/ 330 w 660"/>
                <a:gd name="T15" fmla="*/ 0 h 263"/>
                <a:gd name="T16" fmla="*/ 660 w 660"/>
                <a:gd name="T17" fmla="*/ 131 h 263"/>
                <a:gd name="T18" fmla="*/ 330 w 660"/>
                <a:gd name="T19"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0" h="263">
                  <a:moveTo>
                    <a:pt x="330" y="17"/>
                  </a:moveTo>
                  <a:cubicBezTo>
                    <a:pt x="160" y="17"/>
                    <a:pt x="17" y="69"/>
                    <a:pt x="17" y="131"/>
                  </a:cubicBezTo>
                  <a:cubicBezTo>
                    <a:pt x="17" y="194"/>
                    <a:pt x="160" y="246"/>
                    <a:pt x="330" y="246"/>
                  </a:cubicBezTo>
                  <a:cubicBezTo>
                    <a:pt x="500" y="246"/>
                    <a:pt x="643" y="194"/>
                    <a:pt x="643" y="131"/>
                  </a:cubicBezTo>
                  <a:cubicBezTo>
                    <a:pt x="643" y="69"/>
                    <a:pt x="500" y="17"/>
                    <a:pt x="330" y="17"/>
                  </a:cubicBezTo>
                  <a:close/>
                  <a:moveTo>
                    <a:pt x="330" y="263"/>
                  </a:moveTo>
                  <a:cubicBezTo>
                    <a:pt x="145" y="263"/>
                    <a:pt x="0" y="205"/>
                    <a:pt x="0" y="131"/>
                  </a:cubicBezTo>
                  <a:cubicBezTo>
                    <a:pt x="0" y="58"/>
                    <a:pt x="145" y="0"/>
                    <a:pt x="330" y="0"/>
                  </a:cubicBezTo>
                  <a:cubicBezTo>
                    <a:pt x="515" y="0"/>
                    <a:pt x="660" y="58"/>
                    <a:pt x="660" y="131"/>
                  </a:cubicBezTo>
                  <a:cubicBezTo>
                    <a:pt x="660" y="205"/>
                    <a:pt x="515" y="263"/>
                    <a:pt x="330" y="263"/>
                  </a:cubicBezTo>
                  <a:close/>
                </a:path>
              </a:pathLst>
            </a:custGeom>
            <a:grpFill/>
            <a:ln w="38100">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07" name="Freeform 104">
              <a:extLst>
                <a:ext uri="{FF2B5EF4-FFF2-40B4-BE49-F238E27FC236}">
                  <a16:creationId xmlns:a16="http://schemas.microsoft.com/office/drawing/2014/main" id="{95BECFE8-0D16-401D-88F7-BD1AAB4BA988}"/>
                </a:ext>
              </a:extLst>
            </p:cNvPr>
            <p:cNvSpPr>
              <a:spLocks/>
            </p:cNvSpPr>
            <p:nvPr/>
          </p:nvSpPr>
          <p:spPr bwMode="auto">
            <a:xfrm>
              <a:off x="5195888" y="555625"/>
              <a:ext cx="444500" cy="88900"/>
            </a:xfrm>
            <a:custGeom>
              <a:avLst/>
              <a:gdLst>
                <a:gd name="T0" fmla="*/ 330 w 660"/>
                <a:gd name="T1" fmla="*/ 132 h 132"/>
                <a:gd name="T2" fmla="*/ 0 w 660"/>
                <a:gd name="T3" fmla="*/ 0 h 132"/>
                <a:gd name="T4" fmla="*/ 17 w 660"/>
                <a:gd name="T5" fmla="*/ 0 h 132"/>
                <a:gd name="T6" fmla="*/ 330 w 660"/>
                <a:gd name="T7" fmla="*/ 115 h 132"/>
                <a:gd name="T8" fmla="*/ 643 w 660"/>
                <a:gd name="T9" fmla="*/ 0 h 132"/>
                <a:gd name="T10" fmla="*/ 660 w 660"/>
                <a:gd name="T11" fmla="*/ 0 h 132"/>
                <a:gd name="T12" fmla="*/ 330 w 660"/>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660" h="132">
                  <a:moveTo>
                    <a:pt x="330" y="132"/>
                  </a:moveTo>
                  <a:cubicBezTo>
                    <a:pt x="145" y="132"/>
                    <a:pt x="0" y="74"/>
                    <a:pt x="0" y="0"/>
                  </a:cubicBezTo>
                  <a:lnTo>
                    <a:pt x="17" y="0"/>
                  </a:lnTo>
                  <a:cubicBezTo>
                    <a:pt x="17" y="62"/>
                    <a:pt x="160" y="115"/>
                    <a:pt x="330" y="115"/>
                  </a:cubicBezTo>
                  <a:cubicBezTo>
                    <a:pt x="500" y="115"/>
                    <a:pt x="643" y="62"/>
                    <a:pt x="643" y="0"/>
                  </a:cubicBezTo>
                  <a:lnTo>
                    <a:pt x="660" y="0"/>
                  </a:lnTo>
                  <a:cubicBezTo>
                    <a:pt x="660" y="74"/>
                    <a:pt x="515" y="132"/>
                    <a:pt x="330" y="132"/>
                  </a:cubicBezTo>
                  <a:close/>
                </a:path>
              </a:pathLst>
            </a:custGeom>
            <a:grpFill/>
            <a:ln w="38100">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08" name="Freeform 105">
              <a:extLst>
                <a:ext uri="{FF2B5EF4-FFF2-40B4-BE49-F238E27FC236}">
                  <a16:creationId xmlns:a16="http://schemas.microsoft.com/office/drawing/2014/main" id="{275AB58F-6127-43D3-BF4A-A414D47F4C63}"/>
                </a:ext>
              </a:extLst>
            </p:cNvPr>
            <p:cNvSpPr>
              <a:spLocks/>
            </p:cNvSpPr>
            <p:nvPr/>
          </p:nvSpPr>
          <p:spPr bwMode="auto">
            <a:xfrm>
              <a:off x="5195888" y="711200"/>
              <a:ext cx="444500" cy="88900"/>
            </a:xfrm>
            <a:custGeom>
              <a:avLst/>
              <a:gdLst>
                <a:gd name="T0" fmla="*/ 330 w 660"/>
                <a:gd name="T1" fmla="*/ 131 h 131"/>
                <a:gd name="T2" fmla="*/ 0 w 660"/>
                <a:gd name="T3" fmla="*/ 0 h 131"/>
                <a:gd name="T4" fmla="*/ 17 w 660"/>
                <a:gd name="T5" fmla="*/ 0 h 131"/>
                <a:gd name="T6" fmla="*/ 330 w 660"/>
                <a:gd name="T7" fmla="*/ 114 h 131"/>
                <a:gd name="T8" fmla="*/ 643 w 660"/>
                <a:gd name="T9" fmla="*/ 0 h 131"/>
                <a:gd name="T10" fmla="*/ 660 w 660"/>
                <a:gd name="T11" fmla="*/ 0 h 131"/>
                <a:gd name="T12" fmla="*/ 330 w 660"/>
                <a:gd name="T13" fmla="*/ 131 h 131"/>
              </a:gdLst>
              <a:ahLst/>
              <a:cxnLst>
                <a:cxn ang="0">
                  <a:pos x="T0" y="T1"/>
                </a:cxn>
                <a:cxn ang="0">
                  <a:pos x="T2" y="T3"/>
                </a:cxn>
                <a:cxn ang="0">
                  <a:pos x="T4" y="T5"/>
                </a:cxn>
                <a:cxn ang="0">
                  <a:pos x="T6" y="T7"/>
                </a:cxn>
                <a:cxn ang="0">
                  <a:pos x="T8" y="T9"/>
                </a:cxn>
                <a:cxn ang="0">
                  <a:pos x="T10" y="T11"/>
                </a:cxn>
                <a:cxn ang="0">
                  <a:pos x="T12" y="T13"/>
                </a:cxn>
              </a:cxnLst>
              <a:rect l="0" t="0" r="r" b="b"/>
              <a:pathLst>
                <a:path w="660" h="131">
                  <a:moveTo>
                    <a:pt x="330" y="131"/>
                  </a:moveTo>
                  <a:cubicBezTo>
                    <a:pt x="145" y="131"/>
                    <a:pt x="0" y="73"/>
                    <a:pt x="0" y="0"/>
                  </a:cubicBezTo>
                  <a:lnTo>
                    <a:pt x="17" y="0"/>
                  </a:lnTo>
                  <a:cubicBezTo>
                    <a:pt x="17" y="62"/>
                    <a:pt x="160" y="114"/>
                    <a:pt x="330" y="114"/>
                  </a:cubicBezTo>
                  <a:cubicBezTo>
                    <a:pt x="500" y="114"/>
                    <a:pt x="643" y="62"/>
                    <a:pt x="643" y="0"/>
                  </a:cubicBezTo>
                  <a:lnTo>
                    <a:pt x="660" y="0"/>
                  </a:lnTo>
                  <a:cubicBezTo>
                    <a:pt x="660" y="73"/>
                    <a:pt x="515" y="131"/>
                    <a:pt x="330" y="131"/>
                  </a:cubicBezTo>
                  <a:close/>
                </a:path>
              </a:pathLst>
            </a:custGeom>
            <a:grpFill/>
            <a:ln w="38100">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09" name="Freeform 106">
              <a:extLst>
                <a:ext uri="{FF2B5EF4-FFF2-40B4-BE49-F238E27FC236}">
                  <a16:creationId xmlns:a16="http://schemas.microsoft.com/office/drawing/2014/main" id="{4113100D-32C6-4EAD-86A4-EB482F823BFF}"/>
                </a:ext>
              </a:extLst>
            </p:cNvPr>
            <p:cNvSpPr>
              <a:spLocks/>
            </p:cNvSpPr>
            <p:nvPr/>
          </p:nvSpPr>
          <p:spPr bwMode="auto">
            <a:xfrm>
              <a:off x="5195888" y="868363"/>
              <a:ext cx="444500" cy="88900"/>
            </a:xfrm>
            <a:custGeom>
              <a:avLst/>
              <a:gdLst>
                <a:gd name="T0" fmla="*/ 330 w 660"/>
                <a:gd name="T1" fmla="*/ 132 h 132"/>
                <a:gd name="T2" fmla="*/ 0 w 660"/>
                <a:gd name="T3" fmla="*/ 0 h 132"/>
                <a:gd name="T4" fmla="*/ 17 w 660"/>
                <a:gd name="T5" fmla="*/ 0 h 132"/>
                <a:gd name="T6" fmla="*/ 330 w 660"/>
                <a:gd name="T7" fmla="*/ 115 h 132"/>
                <a:gd name="T8" fmla="*/ 643 w 660"/>
                <a:gd name="T9" fmla="*/ 0 h 132"/>
                <a:gd name="T10" fmla="*/ 660 w 660"/>
                <a:gd name="T11" fmla="*/ 0 h 132"/>
                <a:gd name="T12" fmla="*/ 330 w 660"/>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660" h="132">
                  <a:moveTo>
                    <a:pt x="330" y="132"/>
                  </a:moveTo>
                  <a:cubicBezTo>
                    <a:pt x="145" y="132"/>
                    <a:pt x="0" y="74"/>
                    <a:pt x="0" y="0"/>
                  </a:cubicBezTo>
                  <a:lnTo>
                    <a:pt x="17" y="0"/>
                  </a:lnTo>
                  <a:cubicBezTo>
                    <a:pt x="17" y="62"/>
                    <a:pt x="160" y="115"/>
                    <a:pt x="330" y="115"/>
                  </a:cubicBezTo>
                  <a:cubicBezTo>
                    <a:pt x="500" y="115"/>
                    <a:pt x="643" y="62"/>
                    <a:pt x="643" y="0"/>
                  </a:cubicBezTo>
                  <a:lnTo>
                    <a:pt x="660" y="0"/>
                  </a:lnTo>
                  <a:cubicBezTo>
                    <a:pt x="660" y="74"/>
                    <a:pt x="515" y="132"/>
                    <a:pt x="330" y="132"/>
                  </a:cubicBezTo>
                  <a:close/>
                </a:path>
              </a:pathLst>
            </a:custGeom>
            <a:grpFill/>
            <a:ln w="38100">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10" name="Rectangle 107">
              <a:extLst>
                <a:ext uri="{FF2B5EF4-FFF2-40B4-BE49-F238E27FC236}">
                  <a16:creationId xmlns:a16="http://schemas.microsoft.com/office/drawing/2014/main" id="{A75A8709-9FE0-440C-B0CB-E0F516B1BFAB}"/>
                </a:ext>
              </a:extLst>
            </p:cNvPr>
            <p:cNvSpPr>
              <a:spLocks noChangeArrowheads="1"/>
            </p:cNvSpPr>
            <p:nvPr/>
          </p:nvSpPr>
          <p:spPr bwMode="auto">
            <a:xfrm>
              <a:off x="5195888" y="398463"/>
              <a:ext cx="11113" cy="234950"/>
            </a:xfrm>
            <a:prstGeom prst="rect">
              <a:avLst/>
            </a:prstGeom>
            <a:grpFill/>
            <a:ln w="38100">
              <a:solidFill>
                <a:srgbClr val="0070C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11" name="Rectangle 108">
              <a:extLst>
                <a:ext uri="{FF2B5EF4-FFF2-40B4-BE49-F238E27FC236}">
                  <a16:creationId xmlns:a16="http://schemas.microsoft.com/office/drawing/2014/main" id="{0EC091D8-6F9C-4F96-BB14-EB2922E23083}"/>
                </a:ext>
              </a:extLst>
            </p:cNvPr>
            <p:cNvSpPr>
              <a:spLocks noChangeArrowheads="1"/>
            </p:cNvSpPr>
            <p:nvPr/>
          </p:nvSpPr>
          <p:spPr bwMode="auto">
            <a:xfrm>
              <a:off x="5629275" y="398463"/>
              <a:ext cx="11113" cy="234950"/>
            </a:xfrm>
            <a:prstGeom prst="rect">
              <a:avLst/>
            </a:prstGeom>
            <a:grpFill/>
            <a:ln w="38100">
              <a:solidFill>
                <a:srgbClr val="0070C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12" name="Rectangle 109">
              <a:extLst>
                <a:ext uri="{FF2B5EF4-FFF2-40B4-BE49-F238E27FC236}">
                  <a16:creationId xmlns:a16="http://schemas.microsoft.com/office/drawing/2014/main" id="{031C7322-B2D1-481D-91D4-9778C84B53E4}"/>
                </a:ext>
              </a:extLst>
            </p:cNvPr>
            <p:cNvSpPr>
              <a:spLocks noChangeArrowheads="1"/>
            </p:cNvSpPr>
            <p:nvPr/>
          </p:nvSpPr>
          <p:spPr bwMode="auto">
            <a:xfrm>
              <a:off x="5195888" y="633413"/>
              <a:ext cx="11113" cy="234950"/>
            </a:xfrm>
            <a:prstGeom prst="rect">
              <a:avLst/>
            </a:prstGeom>
            <a:grpFill/>
            <a:ln w="38100">
              <a:solidFill>
                <a:srgbClr val="0070C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13" name="Rectangle 110">
              <a:extLst>
                <a:ext uri="{FF2B5EF4-FFF2-40B4-BE49-F238E27FC236}">
                  <a16:creationId xmlns:a16="http://schemas.microsoft.com/office/drawing/2014/main" id="{BAF99BA5-03F4-4352-AC1F-1488E2C10341}"/>
                </a:ext>
              </a:extLst>
            </p:cNvPr>
            <p:cNvSpPr>
              <a:spLocks noChangeArrowheads="1"/>
            </p:cNvSpPr>
            <p:nvPr/>
          </p:nvSpPr>
          <p:spPr bwMode="auto">
            <a:xfrm>
              <a:off x="5629275" y="633413"/>
              <a:ext cx="11113" cy="234950"/>
            </a:xfrm>
            <a:prstGeom prst="rect">
              <a:avLst/>
            </a:prstGeom>
            <a:grpFill/>
            <a:ln w="38100">
              <a:solidFill>
                <a:srgbClr val="0070C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14" name="Rectangle 111">
              <a:extLst>
                <a:ext uri="{FF2B5EF4-FFF2-40B4-BE49-F238E27FC236}">
                  <a16:creationId xmlns:a16="http://schemas.microsoft.com/office/drawing/2014/main" id="{E5284DD3-38EB-4A4E-AC63-BE3CE8B8C1D1}"/>
                </a:ext>
              </a:extLst>
            </p:cNvPr>
            <p:cNvSpPr>
              <a:spLocks noChangeArrowheads="1"/>
            </p:cNvSpPr>
            <p:nvPr/>
          </p:nvSpPr>
          <p:spPr bwMode="auto">
            <a:xfrm>
              <a:off x="5411788" y="950913"/>
              <a:ext cx="11113" cy="90488"/>
            </a:xfrm>
            <a:prstGeom prst="rect">
              <a:avLst/>
            </a:prstGeom>
            <a:grpFill/>
            <a:ln w="38100">
              <a:solidFill>
                <a:srgbClr val="0070C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15" name="Freeform 112">
              <a:extLst>
                <a:ext uri="{FF2B5EF4-FFF2-40B4-BE49-F238E27FC236}">
                  <a16:creationId xmlns:a16="http://schemas.microsoft.com/office/drawing/2014/main" id="{A9199398-37CF-4284-BDDE-365A4DD85839}"/>
                </a:ext>
              </a:extLst>
            </p:cNvPr>
            <p:cNvSpPr>
              <a:spLocks noEditPoints="1"/>
            </p:cNvSpPr>
            <p:nvPr/>
          </p:nvSpPr>
          <p:spPr bwMode="auto">
            <a:xfrm>
              <a:off x="5348288" y="1036638"/>
              <a:ext cx="138113" cy="55563"/>
            </a:xfrm>
            <a:custGeom>
              <a:avLst/>
              <a:gdLst>
                <a:gd name="T0" fmla="*/ 42 w 203"/>
                <a:gd name="T1" fmla="*/ 17 h 83"/>
                <a:gd name="T2" fmla="*/ 17 w 203"/>
                <a:gd name="T3" fmla="*/ 42 h 83"/>
                <a:gd name="T4" fmla="*/ 42 w 203"/>
                <a:gd name="T5" fmla="*/ 67 h 83"/>
                <a:gd name="T6" fmla="*/ 162 w 203"/>
                <a:gd name="T7" fmla="*/ 67 h 83"/>
                <a:gd name="T8" fmla="*/ 187 w 203"/>
                <a:gd name="T9" fmla="*/ 42 h 83"/>
                <a:gd name="T10" fmla="*/ 162 w 203"/>
                <a:gd name="T11" fmla="*/ 17 h 83"/>
                <a:gd name="T12" fmla="*/ 42 w 203"/>
                <a:gd name="T13" fmla="*/ 17 h 83"/>
                <a:gd name="T14" fmla="*/ 162 w 203"/>
                <a:gd name="T15" fmla="*/ 83 h 83"/>
                <a:gd name="T16" fmla="*/ 42 w 203"/>
                <a:gd name="T17" fmla="*/ 83 h 83"/>
                <a:gd name="T18" fmla="*/ 0 w 203"/>
                <a:gd name="T19" fmla="*/ 42 h 83"/>
                <a:gd name="T20" fmla="*/ 42 w 203"/>
                <a:gd name="T21" fmla="*/ 0 h 83"/>
                <a:gd name="T22" fmla="*/ 162 w 203"/>
                <a:gd name="T23" fmla="*/ 0 h 83"/>
                <a:gd name="T24" fmla="*/ 203 w 203"/>
                <a:gd name="T25" fmla="*/ 42 h 83"/>
                <a:gd name="T26" fmla="*/ 162 w 203"/>
                <a:gd name="T2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3" h="83">
                  <a:moveTo>
                    <a:pt x="42" y="17"/>
                  </a:moveTo>
                  <a:cubicBezTo>
                    <a:pt x="28" y="17"/>
                    <a:pt x="17" y="28"/>
                    <a:pt x="17" y="42"/>
                  </a:cubicBezTo>
                  <a:cubicBezTo>
                    <a:pt x="17" y="55"/>
                    <a:pt x="28" y="67"/>
                    <a:pt x="42" y="67"/>
                  </a:cubicBezTo>
                  <a:lnTo>
                    <a:pt x="162" y="67"/>
                  </a:lnTo>
                  <a:cubicBezTo>
                    <a:pt x="175" y="67"/>
                    <a:pt x="187" y="55"/>
                    <a:pt x="187" y="42"/>
                  </a:cubicBezTo>
                  <a:cubicBezTo>
                    <a:pt x="187" y="28"/>
                    <a:pt x="175" y="17"/>
                    <a:pt x="162" y="17"/>
                  </a:cubicBezTo>
                  <a:lnTo>
                    <a:pt x="42" y="17"/>
                  </a:lnTo>
                  <a:close/>
                  <a:moveTo>
                    <a:pt x="162" y="83"/>
                  </a:moveTo>
                  <a:lnTo>
                    <a:pt x="42" y="83"/>
                  </a:lnTo>
                  <a:cubicBezTo>
                    <a:pt x="19" y="83"/>
                    <a:pt x="0" y="64"/>
                    <a:pt x="0" y="42"/>
                  </a:cubicBezTo>
                  <a:cubicBezTo>
                    <a:pt x="0" y="19"/>
                    <a:pt x="19" y="0"/>
                    <a:pt x="42" y="0"/>
                  </a:cubicBezTo>
                  <a:lnTo>
                    <a:pt x="162" y="0"/>
                  </a:lnTo>
                  <a:cubicBezTo>
                    <a:pt x="185" y="0"/>
                    <a:pt x="203" y="19"/>
                    <a:pt x="203" y="42"/>
                  </a:cubicBezTo>
                  <a:cubicBezTo>
                    <a:pt x="203" y="64"/>
                    <a:pt x="185" y="83"/>
                    <a:pt x="162" y="83"/>
                  </a:cubicBezTo>
                  <a:close/>
                </a:path>
              </a:pathLst>
            </a:custGeom>
            <a:grpFill/>
            <a:ln w="38100">
              <a:solidFill>
                <a:srgbClr val="0070C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16" name="Rectangle 113">
              <a:extLst>
                <a:ext uri="{FF2B5EF4-FFF2-40B4-BE49-F238E27FC236}">
                  <a16:creationId xmlns:a16="http://schemas.microsoft.com/office/drawing/2014/main" id="{88410343-9D98-4898-97A6-CF2826CD32A9}"/>
                </a:ext>
              </a:extLst>
            </p:cNvPr>
            <p:cNvSpPr>
              <a:spLocks noChangeArrowheads="1"/>
            </p:cNvSpPr>
            <p:nvPr/>
          </p:nvSpPr>
          <p:spPr bwMode="auto">
            <a:xfrm>
              <a:off x="5480050" y="1058863"/>
              <a:ext cx="163513" cy="11113"/>
            </a:xfrm>
            <a:prstGeom prst="rect">
              <a:avLst/>
            </a:prstGeom>
            <a:grpFill/>
            <a:ln w="38100">
              <a:solidFill>
                <a:srgbClr val="0070C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17" name="Rectangle 114">
              <a:extLst>
                <a:ext uri="{FF2B5EF4-FFF2-40B4-BE49-F238E27FC236}">
                  <a16:creationId xmlns:a16="http://schemas.microsoft.com/office/drawing/2014/main" id="{9A51A1AB-DB45-4D07-B7F1-FA29C97340D2}"/>
                </a:ext>
              </a:extLst>
            </p:cNvPr>
            <p:cNvSpPr>
              <a:spLocks noChangeArrowheads="1"/>
            </p:cNvSpPr>
            <p:nvPr/>
          </p:nvSpPr>
          <p:spPr bwMode="auto">
            <a:xfrm>
              <a:off x="5191125" y="1058863"/>
              <a:ext cx="163513" cy="11113"/>
            </a:xfrm>
            <a:prstGeom prst="rect">
              <a:avLst/>
            </a:prstGeom>
            <a:grpFill/>
            <a:ln w="38100">
              <a:solidFill>
                <a:srgbClr val="0070C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grpSp>
      <p:sp>
        <p:nvSpPr>
          <p:cNvPr id="118" name="TextBox 117">
            <a:extLst>
              <a:ext uri="{FF2B5EF4-FFF2-40B4-BE49-F238E27FC236}">
                <a16:creationId xmlns:a16="http://schemas.microsoft.com/office/drawing/2014/main" id="{9A1FAAD7-68CF-424C-85F6-CE5AF790CEF7}"/>
              </a:ext>
            </a:extLst>
          </p:cNvPr>
          <p:cNvSpPr txBox="1"/>
          <p:nvPr/>
        </p:nvSpPr>
        <p:spPr>
          <a:xfrm>
            <a:off x="2442361" y="2089613"/>
            <a:ext cx="2699778" cy="523220"/>
          </a:xfrm>
          <a:prstGeom prst="rect">
            <a:avLst/>
          </a:prstGeom>
          <a:noFill/>
        </p:spPr>
        <p:txBody>
          <a:bodyPr wrap="none" rtlCol="0">
            <a:spAutoFit/>
          </a:bodyPr>
          <a:lstStyle/>
          <a:p>
            <a:r>
              <a:rPr lang="en-US" sz="2800">
                <a:solidFill>
                  <a:schemeClr val="tx1">
                    <a:lumMod val="85000"/>
                    <a:lumOff val="15000"/>
                  </a:schemeClr>
                </a:solidFill>
              </a:rPr>
              <a:t>Bản ghi, tr</a:t>
            </a:r>
            <a:r>
              <a:rPr lang="vi-VN" sz="2800">
                <a:solidFill>
                  <a:schemeClr val="tx1">
                    <a:lumMod val="85000"/>
                    <a:lumOff val="15000"/>
                  </a:schemeClr>
                </a:solidFill>
              </a:rPr>
              <a:t>ư</a:t>
            </a:r>
            <a:r>
              <a:rPr lang="en-US" sz="2800">
                <a:solidFill>
                  <a:schemeClr val="tx1">
                    <a:lumMod val="85000"/>
                    <a:lumOff val="15000"/>
                  </a:schemeClr>
                </a:solidFill>
              </a:rPr>
              <a:t>ờng</a:t>
            </a:r>
            <a:endParaRPr lang="vi-VN" sz="2800">
              <a:solidFill>
                <a:schemeClr val="tx1">
                  <a:lumMod val="85000"/>
                  <a:lumOff val="15000"/>
                </a:schemeClr>
              </a:solidFill>
            </a:endParaRPr>
          </a:p>
        </p:txBody>
      </p:sp>
      <p:sp>
        <p:nvSpPr>
          <p:cNvPr id="119" name="TextBox 118">
            <a:extLst>
              <a:ext uri="{FF2B5EF4-FFF2-40B4-BE49-F238E27FC236}">
                <a16:creationId xmlns:a16="http://schemas.microsoft.com/office/drawing/2014/main" id="{705201E4-5545-4FB9-9C23-520522E946F7}"/>
              </a:ext>
            </a:extLst>
          </p:cNvPr>
          <p:cNvSpPr txBox="1"/>
          <p:nvPr/>
        </p:nvSpPr>
        <p:spPr>
          <a:xfrm>
            <a:off x="2482935" y="3836317"/>
            <a:ext cx="2004075" cy="523220"/>
          </a:xfrm>
          <a:prstGeom prst="rect">
            <a:avLst/>
          </a:prstGeom>
          <a:noFill/>
        </p:spPr>
        <p:txBody>
          <a:bodyPr wrap="none" rtlCol="0">
            <a:spAutoFit/>
          </a:bodyPr>
          <a:lstStyle/>
          <a:p>
            <a:r>
              <a:rPr lang="en-US" sz="2800">
                <a:solidFill>
                  <a:schemeClr val="tx1">
                    <a:lumMod val="85000"/>
                    <a:lumOff val="15000"/>
                  </a:schemeClr>
                </a:solidFill>
              </a:rPr>
              <a:t>Khóa chính</a:t>
            </a:r>
            <a:endParaRPr lang="vi-VN" sz="2800">
              <a:solidFill>
                <a:schemeClr val="tx1">
                  <a:lumMod val="85000"/>
                  <a:lumOff val="15000"/>
                </a:schemeClr>
              </a:solidFill>
            </a:endParaRPr>
          </a:p>
        </p:txBody>
      </p:sp>
      <p:sp>
        <p:nvSpPr>
          <p:cNvPr id="120" name="TextBox 119">
            <a:extLst>
              <a:ext uri="{FF2B5EF4-FFF2-40B4-BE49-F238E27FC236}">
                <a16:creationId xmlns:a16="http://schemas.microsoft.com/office/drawing/2014/main" id="{F1FAC973-5A91-4070-9DC8-AC9090413A37}"/>
              </a:ext>
            </a:extLst>
          </p:cNvPr>
          <p:cNvSpPr txBox="1"/>
          <p:nvPr/>
        </p:nvSpPr>
        <p:spPr>
          <a:xfrm>
            <a:off x="2466311" y="5504742"/>
            <a:ext cx="2005677" cy="523220"/>
          </a:xfrm>
          <a:prstGeom prst="rect">
            <a:avLst/>
          </a:prstGeom>
          <a:noFill/>
        </p:spPr>
        <p:txBody>
          <a:bodyPr wrap="none" rtlCol="0">
            <a:spAutoFit/>
          </a:bodyPr>
          <a:lstStyle/>
          <a:p>
            <a:r>
              <a:rPr lang="en-US" sz="2800">
                <a:solidFill>
                  <a:schemeClr val="tx1">
                    <a:lumMod val="85000"/>
                    <a:lumOff val="15000"/>
                  </a:schemeClr>
                </a:solidFill>
              </a:rPr>
              <a:t>Khóa ngoài</a:t>
            </a:r>
            <a:endParaRPr lang="vi-VN" sz="2800">
              <a:solidFill>
                <a:schemeClr val="tx1">
                  <a:lumMod val="85000"/>
                  <a:lumOff val="15000"/>
                </a:schemeClr>
              </a:solidFill>
            </a:endParaRPr>
          </a:p>
        </p:txBody>
      </p:sp>
      <p:sp>
        <p:nvSpPr>
          <p:cNvPr id="121" name="TextBox 120">
            <a:extLst>
              <a:ext uri="{FF2B5EF4-FFF2-40B4-BE49-F238E27FC236}">
                <a16:creationId xmlns:a16="http://schemas.microsoft.com/office/drawing/2014/main" id="{6654B17A-5A42-43BC-9A7D-0A79416A8DD9}"/>
              </a:ext>
            </a:extLst>
          </p:cNvPr>
          <p:cNvSpPr txBox="1"/>
          <p:nvPr/>
        </p:nvSpPr>
        <p:spPr>
          <a:xfrm>
            <a:off x="7431233" y="2054028"/>
            <a:ext cx="2645276" cy="523220"/>
          </a:xfrm>
          <a:prstGeom prst="rect">
            <a:avLst/>
          </a:prstGeom>
          <a:noFill/>
        </p:spPr>
        <p:txBody>
          <a:bodyPr wrap="none" rtlCol="0">
            <a:spAutoFit/>
          </a:bodyPr>
          <a:lstStyle/>
          <a:p>
            <a:r>
              <a:rPr lang="en-US" sz="2800">
                <a:solidFill>
                  <a:schemeClr val="tx1">
                    <a:lumMod val="85000"/>
                    <a:lumOff val="15000"/>
                  </a:schemeClr>
                </a:solidFill>
              </a:rPr>
              <a:t>Liên kết dữ liệu</a:t>
            </a:r>
            <a:endParaRPr lang="vi-VN" sz="2800">
              <a:solidFill>
                <a:schemeClr val="tx1">
                  <a:lumMod val="85000"/>
                  <a:lumOff val="15000"/>
                </a:schemeClr>
              </a:solidFill>
            </a:endParaRPr>
          </a:p>
        </p:txBody>
      </p:sp>
      <p:sp>
        <p:nvSpPr>
          <p:cNvPr id="122" name="TextBox 121">
            <a:extLst>
              <a:ext uri="{FF2B5EF4-FFF2-40B4-BE49-F238E27FC236}">
                <a16:creationId xmlns:a16="http://schemas.microsoft.com/office/drawing/2014/main" id="{DC970867-81FB-407C-9E61-FB115F0D538E}"/>
              </a:ext>
            </a:extLst>
          </p:cNvPr>
          <p:cNvSpPr txBox="1"/>
          <p:nvPr/>
        </p:nvSpPr>
        <p:spPr>
          <a:xfrm>
            <a:off x="7312347" y="3833295"/>
            <a:ext cx="3700052" cy="523220"/>
          </a:xfrm>
          <a:prstGeom prst="rect">
            <a:avLst/>
          </a:prstGeom>
          <a:noFill/>
        </p:spPr>
        <p:txBody>
          <a:bodyPr wrap="none" rtlCol="0">
            <a:spAutoFit/>
          </a:bodyPr>
          <a:lstStyle/>
          <a:p>
            <a:r>
              <a:rPr lang="en-US" sz="2800">
                <a:solidFill>
                  <a:schemeClr val="tx1">
                    <a:lumMod val="85000"/>
                    <a:lumOff val="15000"/>
                  </a:schemeClr>
                </a:solidFill>
              </a:rPr>
              <a:t>Các tr</a:t>
            </a:r>
            <a:r>
              <a:rPr lang="vi-VN" sz="2800">
                <a:solidFill>
                  <a:schemeClr val="tx1">
                    <a:lumMod val="85000"/>
                    <a:lumOff val="15000"/>
                  </a:schemeClr>
                </a:solidFill>
              </a:rPr>
              <a:t>ư</a:t>
            </a:r>
            <a:r>
              <a:rPr lang="en-US" sz="2800">
                <a:solidFill>
                  <a:schemeClr val="tx1">
                    <a:lumMod val="85000"/>
                    <a:lumOff val="15000"/>
                  </a:schemeClr>
                </a:solidFill>
              </a:rPr>
              <a:t>ờng và dữ liệu</a:t>
            </a:r>
            <a:endParaRPr lang="vi-VN" sz="2800">
              <a:solidFill>
                <a:schemeClr val="tx1">
                  <a:lumMod val="85000"/>
                  <a:lumOff val="15000"/>
                </a:schemeClr>
              </a:solidFill>
            </a:endParaRPr>
          </a:p>
        </p:txBody>
      </p:sp>
    </p:spTree>
    <p:extLst>
      <p:ext uri="{BB962C8B-B14F-4D97-AF65-F5344CB8AC3E}">
        <p14:creationId xmlns:p14="http://schemas.microsoft.com/office/powerpoint/2010/main" val="427182742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phic 10" descr="Table">
            <a:extLst>
              <a:ext uri="{FF2B5EF4-FFF2-40B4-BE49-F238E27FC236}">
                <a16:creationId xmlns:a16="http://schemas.microsoft.com/office/drawing/2014/main" id="{96D8E172-D962-48DE-84E7-A0760F5659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38690" y="0"/>
            <a:ext cx="1271420" cy="1271420"/>
          </a:xfrm>
          <a:prstGeom prst="rect">
            <a:avLst/>
          </a:prstGeom>
        </p:spPr>
      </p:pic>
      <p:sp>
        <p:nvSpPr>
          <p:cNvPr id="12" name="TextBox 11">
            <a:extLst>
              <a:ext uri="{FF2B5EF4-FFF2-40B4-BE49-F238E27FC236}">
                <a16:creationId xmlns:a16="http://schemas.microsoft.com/office/drawing/2014/main" id="{00984C76-EF88-4E53-9BBE-39802B97C5FB}"/>
              </a:ext>
            </a:extLst>
          </p:cNvPr>
          <p:cNvSpPr txBox="1"/>
          <p:nvPr/>
        </p:nvSpPr>
        <p:spPr>
          <a:xfrm>
            <a:off x="3758501" y="395052"/>
            <a:ext cx="3050835" cy="584775"/>
          </a:xfrm>
          <a:prstGeom prst="rect">
            <a:avLst/>
          </a:prstGeom>
          <a:noFill/>
        </p:spPr>
        <p:txBody>
          <a:bodyPr wrap="none" rtlCol="0">
            <a:spAutoFit/>
          </a:bodyPr>
          <a:lstStyle/>
          <a:p>
            <a:r>
              <a:rPr lang="en-US" sz="3200"/>
              <a:t>Bản ghi, tr</a:t>
            </a:r>
            <a:r>
              <a:rPr lang="vi-VN" sz="3200"/>
              <a:t>ư</a:t>
            </a:r>
            <a:r>
              <a:rPr lang="en-US" sz="3200"/>
              <a:t>ờng</a:t>
            </a:r>
            <a:endParaRPr lang="vi-VN" sz="3200"/>
          </a:p>
        </p:txBody>
      </p:sp>
      <p:sp>
        <p:nvSpPr>
          <p:cNvPr id="13" name="TextBox 12">
            <a:extLst>
              <a:ext uri="{FF2B5EF4-FFF2-40B4-BE49-F238E27FC236}">
                <a16:creationId xmlns:a16="http://schemas.microsoft.com/office/drawing/2014/main" id="{CC7F8901-C93B-49E5-9BB8-C9783105383D}"/>
              </a:ext>
            </a:extLst>
          </p:cNvPr>
          <p:cNvSpPr txBox="1"/>
          <p:nvPr/>
        </p:nvSpPr>
        <p:spPr>
          <a:xfrm>
            <a:off x="2604568" y="1271420"/>
            <a:ext cx="9023325" cy="1569660"/>
          </a:xfrm>
          <a:prstGeom prst="rect">
            <a:avLst/>
          </a:prstGeom>
          <a:noFill/>
        </p:spPr>
        <p:txBody>
          <a:bodyPr wrap="square" rtlCol="0">
            <a:spAutoFit/>
          </a:bodyPr>
          <a:lstStyle/>
          <a:p>
            <a:pPr marL="285750" indent="-285750">
              <a:buFont typeface="Wingdings" panose="05000000000000000000" pitchFamily="2" charset="2"/>
              <a:buChar char="§"/>
            </a:pPr>
            <a:r>
              <a:rPr lang="en-US" sz="2400">
                <a:solidFill>
                  <a:schemeClr val="accent5">
                    <a:lumMod val="75000"/>
                  </a:schemeClr>
                </a:solidFill>
              </a:rPr>
              <a:t>Bản ghi (record): t</a:t>
            </a:r>
            <a:r>
              <a:rPr lang="vi-VN" sz="2400">
                <a:solidFill>
                  <a:schemeClr val="accent5">
                    <a:lumMod val="75000"/>
                  </a:schemeClr>
                </a:solidFill>
              </a:rPr>
              <a:t>ư</a:t>
            </a:r>
            <a:r>
              <a:rPr lang="en-US" sz="2400">
                <a:solidFill>
                  <a:schemeClr val="accent5">
                    <a:lumMod val="75000"/>
                  </a:schemeClr>
                </a:solidFill>
              </a:rPr>
              <a:t>ơng ứng mỗi hàng trong bảng,</a:t>
            </a:r>
            <a:r>
              <a:rPr lang="en-US" sz="2400"/>
              <a:t> </a:t>
            </a:r>
            <a:r>
              <a:rPr lang="en-US" sz="2400">
                <a:solidFill>
                  <a:schemeClr val="tx1">
                    <a:lumMod val="85000"/>
                    <a:lumOff val="15000"/>
                  </a:schemeClr>
                </a:solidFill>
              </a:rPr>
              <a:t>là tập hợp các thông tin về một đối t</a:t>
            </a:r>
            <a:r>
              <a:rPr lang="vi-VN" sz="2400">
                <a:solidFill>
                  <a:schemeClr val="tx1">
                    <a:lumMod val="85000"/>
                    <a:lumOff val="15000"/>
                  </a:schemeClr>
                </a:solidFill>
              </a:rPr>
              <a:t>ư</a:t>
            </a:r>
            <a:r>
              <a:rPr lang="en-US" sz="2400">
                <a:solidFill>
                  <a:schemeClr val="tx1">
                    <a:lumMod val="85000"/>
                    <a:lumOff val="15000"/>
                  </a:schemeClr>
                </a:solidFill>
              </a:rPr>
              <a:t>ợng cụ thể đ</a:t>
            </a:r>
            <a:r>
              <a:rPr lang="vi-VN" sz="2400">
                <a:solidFill>
                  <a:schemeClr val="tx1">
                    <a:lumMod val="85000"/>
                    <a:lumOff val="15000"/>
                  </a:schemeClr>
                </a:solidFill>
              </a:rPr>
              <a:t>ư</a:t>
            </a:r>
            <a:r>
              <a:rPr lang="en-US" sz="2400">
                <a:solidFill>
                  <a:schemeClr val="tx1">
                    <a:lumMod val="85000"/>
                    <a:lumOff val="15000"/>
                  </a:schemeClr>
                </a:solidFill>
              </a:rPr>
              <a:t>ợc quản lí trong bảng</a:t>
            </a:r>
          </a:p>
          <a:p>
            <a:pPr marL="285750" indent="-285750">
              <a:buFont typeface="Wingdings" panose="05000000000000000000" pitchFamily="2" charset="2"/>
              <a:buChar char="§"/>
            </a:pPr>
            <a:r>
              <a:rPr lang="en-US" sz="2400">
                <a:solidFill>
                  <a:schemeClr val="accent5">
                    <a:lumMod val="75000"/>
                  </a:schemeClr>
                </a:solidFill>
              </a:rPr>
              <a:t>Tr</a:t>
            </a:r>
            <a:r>
              <a:rPr lang="vi-VN" sz="2400">
                <a:solidFill>
                  <a:schemeClr val="accent5">
                    <a:lumMod val="75000"/>
                  </a:schemeClr>
                </a:solidFill>
              </a:rPr>
              <a:t>ư</a:t>
            </a:r>
            <a:r>
              <a:rPr lang="en-US" sz="2400">
                <a:solidFill>
                  <a:schemeClr val="accent5">
                    <a:lumMod val="75000"/>
                  </a:schemeClr>
                </a:solidFill>
              </a:rPr>
              <a:t>ờng (field): t</a:t>
            </a:r>
            <a:r>
              <a:rPr lang="vi-VN" sz="2400">
                <a:solidFill>
                  <a:schemeClr val="accent5">
                    <a:lumMod val="75000"/>
                  </a:schemeClr>
                </a:solidFill>
              </a:rPr>
              <a:t>ư</a:t>
            </a:r>
            <a:r>
              <a:rPr lang="en-US" sz="2400">
                <a:solidFill>
                  <a:schemeClr val="accent5">
                    <a:lumMod val="75000"/>
                  </a:schemeClr>
                </a:solidFill>
              </a:rPr>
              <a:t>ơng ứng mỗi cột trong bảng, </a:t>
            </a:r>
            <a:r>
              <a:rPr lang="en-US" sz="2400">
                <a:solidFill>
                  <a:schemeClr val="tx1">
                    <a:lumMod val="85000"/>
                    <a:lumOff val="15000"/>
                  </a:schemeClr>
                </a:solidFill>
              </a:rPr>
              <a:t>thể hiện thuộc tính của đối t</a:t>
            </a:r>
            <a:r>
              <a:rPr lang="vi-VN" sz="2400">
                <a:solidFill>
                  <a:schemeClr val="tx1">
                    <a:lumMod val="85000"/>
                    <a:lumOff val="15000"/>
                  </a:schemeClr>
                </a:solidFill>
              </a:rPr>
              <a:t>ư</a:t>
            </a:r>
            <a:r>
              <a:rPr lang="en-US" sz="2400">
                <a:solidFill>
                  <a:schemeClr val="tx1">
                    <a:lumMod val="85000"/>
                    <a:lumOff val="15000"/>
                  </a:schemeClr>
                </a:solidFill>
              </a:rPr>
              <a:t>ợng đ</a:t>
            </a:r>
            <a:r>
              <a:rPr lang="vi-VN" sz="2400">
                <a:solidFill>
                  <a:schemeClr val="tx1">
                    <a:lumMod val="85000"/>
                    <a:lumOff val="15000"/>
                  </a:schemeClr>
                </a:solidFill>
              </a:rPr>
              <a:t>ư</a:t>
            </a:r>
            <a:r>
              <a:rPr lang="en-US" sz="2400">
                <a:solidFill>
                  <a:schemeClr val="tx1">
                    <a:lumMod val="85000"/>
                    <a:lumOff val="15000"/>
                  </a:schemeClr>
                </a:solidFill>
              </a:rPr>
              <a:t>ợc quản lí trong bảng</a:t>
            </a:r>
            <a:endParaRPr lang="vi-VN" sz="2400">
              <a:solidFill>
                <a:schemeClr val="tx1">
                  <a:lumMod val="85000"/>
                  <a:lumOff val="15000"/>
                </a:schemeClr>
              </a:solidFill>
            </a:endParaRPr>
          </a:p>
        </p:txBody>
      </p:sp>
      <p:grpSp>
        <p:nvGrpSpPr>
          <p:cNvPr id="14" name="Key9" descr="{&quot;Key&quot;:&quot;POWER_USER_SHAPE_ICON&quot;,&quot;Value&quot;:&quot;POWER_USER_SHAPE_ICON_STYLE_1&quot;}">
            <a:extLst>
              <a:ext uri="{FF2B5EF4-FFF2-40B4-BE49-F238E27FC236}">
                <a16:creationId xmlns:a16="http://schemas.microsoft.com/office/drawing/2014/main" id="{BE191F2A-2F44-4369-B6BC-00131EA4929C}"/>
              </a:ext>
            </a:extLst>
          </p:cNvPr>
          <p:cNvGrpSpPr>
            <a:grpSpLocks noChangeAspect="1"/>
          </p:cNvGrpSpPr>
          <p:nvPr/>
        </p:nvGrpSpPr>
        <p:grpSpPr>
          <a:xfrm>
            <a:off x="366107" y="3423675"/>
            <a:ext cx="955791" cy="914400"/>
            <a:chOff x="3805238" y="1155700"/>
            <a:chExt cx="403225" cy="385763"/>
          </a:xfrm>
          <a:solidFill>
            <a:schemeClr val="accent1"/>
          </a:solidFill>
        </p:grpSpPr>
        <p:sp>
          <p:nvSpPr>
            <p:cNvPr id="15" name="Freeform 34">
              <a:extLst>
                <a:ext uri="{FF2B5EF4-FFF2-40B4-BE49-F238E27FC236}">
                  <a16:creationId xmlns:a16="http://schemas.microsoft.com/office/drawing/2014/main" id="{3BBDB022-AB6A-4315-A052-1066F43B2BF5}"/>
                </a:ext>
              </a:extLst>
            </p:cNvPr>
            <p:cNvSpPr>
              <a:spLocks noEditPoints="1"/>
            </p:cNvSpPr>
            <p:nvPr/>
          </p:nvSpPr>
          <p:spPr bwMode="auto">
            <a:xfrm>
              <a:off x="3805238" y="1155700"/>
              <a:ext cx="403225" cy="385763"/>
            </a:xfrm>
            <a:custGeom>
              <a:avLst/>
              <a:gdLst>
                <a:gd name="T0" fmla="*/ 987 w 3161"/>
                <a:gd name="T1" fmla="*/ 1247 h 3007"/>
                <a:gd name="T2" fmla="*/ 444 w 3161"/>
                <a:gd name="T3" fmla="*/ 1431 h 3007"/>
                <a:gd name="T4" fmla="*/ 164 w 3161"/>
                <a:gd name="T5" fmla="*/ 1985 h 3007"/>
                <a:gd name="T6" fmla="*/ 357 w 3161"/>
                <a:gd name="T7" fmla="*/ 2576 h 3007"/>
                <a:gd name="T8" fmla="*/ 981 w 3161"/>
                <a:gd name="T9" fmla="*/ 2862 h 3007"/>
                <a:gd name="T10" fmla="*/ 1505 w 3161"/>
                <a:gd name="T11" fmla="*/ 2670 h 3007"/>
                <a:gd name="T12" fmla="*/ 1777 w 3161"/>
                <a:gd name="T13" fmla="*/ 1896 h 3007"/>
                <a:gd name="T14" fmla="*/ 1801 w 3161"/>
                <a:gd name="T15" fmla="*/ 1828 h 3007"/>
                <a:gd name="T16" fmla="*/ 2024 w 3161"/>
                <a:gd name="T17" fmla="*/ 1638 h 3007"/>
                <a:gd name="T18" fmla="*/ 2038 w 3161"/>
                <a:gd name="T19" fmla="*/ 1294 h 3007"/>
                <a:gd name="T20" fmla="*/ 2109 w 3161"/>
                <a:gd name="T21" fmla="*/ 1225 h 3007"/>
                <a:gd name="T22" fmla="*/ 2328 w 3161"/>
                <a:gd name="T23" fmla="*/ 1219 h 3007"/>
                <a:gd name="T24" fmla="*/ 2335 w 3161"/>
                <a:gd name="T25" fmla="*/ 1015 h 3007"/>
                <a:gd name="T26" fmla="*/ 2358 w 3161"/>
                <a:gd name="T27" fmla="*/ 965 h 3007"/>
                <a:gd name="T28" fmla="*/ 2410 w 3161"/>
                <a:gd name="T29" fmla="*/ 945 h 3007"/>
                <a:gd name="T30" fmla="*/ 2678 w 3161"/>
                <a:gd name="T31" fmla="*/ 957 h 3007"/>
                <a:gd name="T32" fmla="*/ 2699 w 3161"/>
                <a:gd name="T33" fmla="*/ 728 h 3007"/>
                <a:gd name="T34" fmla="*/ 2765 w 3161"/>
                <a:gd name="T35" fmla="*/ 662 h 3007"/>
                <a:gd name="T36" fmla="*/ 3002 w 3161"/>
                <a:gd name="T37" fmla="*/ 642 h 3007"/>
                <a:gd name="T38" fmla="*/ 3013 w 3161"/>
                <a:gd name="T39" fmla="*/ 199 h 3007"/>
                <a:gd name="T40" fmla="*/ 2608 w 3161"/>
                <a:gd name="T41" fmla="*/ 150 h 3007"/>
                <a:gd name="T42" fmla="*/ 1306 w 3161"/>
                <a:gd name="T43" fmla="*/ 1265 h 3007"/>
                <a:gd name="T44" fmla="*/ 1240 w 3161"/>
                <a:gd name="T45" fmla="*/ 1279 h 3007"/>
                <a:gd name="T46" fmla="*/ 987 w 3161"/>
                <a:gd name="T47" fmla="*/ 1247 h 3007"/>
                <a:gd name="T48" fmla="*/ 981 w 3161"/>
                <a:gd name="T49" fmla="*/ 3007 h 3007"/>
                <a:gd name="T50" fmla="*/ 247 w 3161"/>
                <a:gd name="T51" fmla="*/ 2670 h 3007"/>
                <a:gd name="T52" fmla="*/ 19 w 3161"/>
                <a:gd name="T53" fmla="*/ 1974 h 3007"/>
                <a:gd name="T54" fmla="*/ 350 w 3161"/>
                <a:gd name="T55" fmla="*/ 1321 h 3007"/>
                <a:gd name="T56" fmla="*/ 987 w 3161"/>
                <a:gd name="T57" fmla="*/ 1102 h 3007"/>
                <a:gd name="T58" fmla="*/ 1240 w 3161"/>
                <a:gd name="T59" fmla="*/ 1130 h 3007"/>
                <a:gd name="T60" fmla="*/ 2538 w 3161"/>
                <a:gd name="T61" fmla="*/ 19 h 3007"/>
                <a:gd name="T62" fmla="*/ 2594 w 3161"/>
                <a:gd name="T63" fmla="*/ 2 h 3007"/>
                <a:gd name="T64" fmla="*/ 3096 w 3161"/>
                <a:gd name="T65" fmla="*/ 63 h 3007"/>
                <a:gd name="T66" fmla="*/ 3160 w 3161"/>
                <a:gd name="T67" fmla="*/ 137 h 3007"/>
                <a:gd name="T68" fmla="*/ 3145 w 3161"/>
                <a:gd name="T69" fmla="*/ 711 h 3007"/>
                <a:gd name="T70" fmla="*/ 3079 w 3161"/>
                <a:gd name="T71" fmla="*/ 781 h 3007"/>
                <a:gd name="T72" fmla="*/ 2838 w 3161"/>
                <a:gd name="T73" fmla="*/ 802 h 3007"/>
                <a:gd name="T74" fmla="*/ 2815 w 3161"/>
                <a:gd name="T75" fmla="*/ 1039 h 3007"/>
                <a:gd name="T76" fmla="*/ 2740 w 3161"/>
                <a:gd name="T77" fmla="*/ 1105 h 3007"/>
                <a:gd name="T78" fmla="*/ 2477 w 3161"/>
                <a:gd name="T79" fmla="*/ 1093 h 3007"/>
                <a:gd name="T80" fmla="*/ 2470 w 3161"/>
                <a:gd name="T81" fmla="*/ 1293 h 3007"/>
                <a:gd name="T82" fmla="*/ 2400 w 3161"/>
                <a:gd name="T83" fmla="*/ 1363 h 3007"/>
                <a:gd name="T84" fmla="*/ 2180 w 3161"/>
                <a:gd name="T85" fmla="*/ 1368 h 3007"/>
                <a:gd name="T86" fmla="*/ 2167 w 3161"/>
                <a:gd name="T87" fmla="*/ 1675 h 3007"/>
                <a:gd name="T88" fmla="*/ 2142 w 3161"/>
                <a:gd name="T89" fmla="*/ 1727 h 3007"/>
                <a:gd name="T90" fmla="*/ 1925 w 3161"/>
                <a:gd name="T91" fmla="*/ 1913 h 3007"/>
                <a:gd name="T92" fmla="*/ 1599 w 3161"/>
                <a:gd name="T93" fmla="*/ 2780 h 3007"/>
                <a:gd name="T94" fmla="*/ 981 w 3161"/>
                <a:gd name="T95" fmla="*/ 3007 h 3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61" h="3007">
                  <a:moveTo>
                    <a:pt x="987" y="1247"/>
                  </a:moveTo>
                  <a:cubicBezTo>
                    <a:pt x="776" y="1247"/>
                    <a:pt x="583" y="1312"/>
                    <a:pt x="444" y="1431"/>
                  </a:cubicBezTo>
                  <a:cubicBezTo>
                    <a:pt x="280" y="1572"/>
                    <a:pt x="180" y="1768"/>
                    <a:pt x="164" y="1985"/>
                  </a:cubicBezTo>
                  <a:cubicBezTo>
                    <a:pt x="148" y="2201"/>
                    <a:pt x="216" y="2411"/>
                    <a:pt x="357" y="2576"/>
                  </a:cubicBezTo>
                  <a:cubicBezTo>
                    <a:pt x="513" y="2758"/>
                    <a:pt x="740" y="2862"/>
                    <a:pt x="981" y="2862"/>
                  </a:cubicBezTo>
                  <a:cubicBezTo>
                    <a:pt x="1174" y="2862"/>
                    <a:pt x="1360" y="2794"/>
                    <a:pt x="1505" y="2670"/>
                  </a:cubicBezTo>
                  <a:cubicBezTo>
                    <a:pt x="1719" y="2487"/>
                    <a:pt x="1825" y="2183"/>
                    <a:pt x="1777" y="1896"/>
                  </a:cubicBezTo>
                  <a:cubicBezTo>
                    <a:pt x="1772" y="1871"/>
                    <a:pt x="1782" y="1845"/>
                    <a:pt x="1801" y="1828"/>
                  </a:cubicBezTo>
                  <a:lnTo>
                    <a:pt x="2024" y="1638"/>
                  </a:lnTo>
                  <a:lnTo>
                    <a:pt x="2038" y="1294"/>
                  </a:lnTo>
                  <a:cubicBezTo>
                    <a:pt x="2040" y="1256"/>
                    <a:pt x="2070" y="1226"/>
                    <a:pt x="2109" y="1225"/>
                  </a:cubicBezTo>
                  <a:lnTo>
                    <a:pt x="2328" y="1219"/>
                  </a:lnTo>
                  <a:lnTo>
                    <a:pt x="2335" y="1015"/>
                  </a:lnTo>
                  <a:cubicBezTo>
                    <a:pt x="2335" y="996"/>
                    <a:pt x="2344" y="978"/>
                    <a:pt x="2358" y="965"/>
                  </a:cubicBezTo>
                  <a:cubicBezTo>
                    <a:pt x="2372" y="951"/>
                    <a:pt x="2391" y="944"/>
                    <a:pt x="2410" y="945"/>
                  </a:cubicBezTo>
                  <a:lnTo>
                    <a:pt x="2678" y="957"/>
                  </a:lnTo>
                  <a:lnTo>
                    <a:pt x="2699" y="728"/>
                  </a:lnTo>
                  <a:cubicBezTo>
                    <a:pt x="2703" y="693"/>
                    <a:pt x="2730" y="665"/>
                    <a:pt x="2765" y="662"/>
                  </a:cubicBezTo>
                  <a:lnTo>
                    <a:pt x="3002" y="642"/>
                  </a:lnTo>
                  <a:lnTo>
                    <a:pt x="3013" y="199"/>
                  </a:lnTo>
                  <a:lnTo>
                    <a:pt x="2608" y="150"/>
                  </a:lnTo>
                  <a:lnTo>
                    <a:pt x="1306" y="1265"/>
                  </a:lnTo>
                  <a:cubicBezTo>
                    <a:pt x="1288" y="1280"/>
                    <a:pt x="1264" y="1286"/>
                    <a:pt x="1240" y="1279"/>
                  </a:cubicBezTo>
                  <a:cubicBezTo>
                    <a:pt x="1161" y="1258"/>
                    <a:pt x="1073" y="1247"/>
                    <a:pt x="987" y="1247"/>
                  </a:cubicBezTo>
                  <a:close/>
                  <a:moveTo>
                    <a:pt x="981" y="3007"/>
                  </a:moveTo>
                  <a:cubicBezTo>
                    <a:pt x="698" y="3007"/>
                    <a:pt x="430" y="2885"/>
                    <a:pt x="247" y="2670"/>
                  </a:cubicBezTo>
                  <a:cubicBezTo>
                    <a:pt x="81" y="2476"/>
                    <a:pt x="0" y="2229"/>
                    <a:pt x="19" y="1974"/>
                  </a:cubicBezTo>
                  <a:cubicBezTo>
                    <a:pt x="39" y="1719"/>
                    <a:pt x="156" y="1487"/>
                    <a:pt x="350" y="1321"/>
                  </a:cubicBezTo>
                  <a:cubicBezTo>
                    <a:pt x="515" y="1180"/>
                    <a:pt x="741" y="1102"/>
                    <a:pt x="987" y="1102"/>
                  </a:cubicBezTo>
                  <a:cubicBezTo>
                    <a:pt x="1072" y="1102"/>
                    <a:pt x="1159" y="1111"/>
                    <a:pt x="1240" y="1130"/>
                  </a:cubicBezTo>
                  <a:lnTo>
                    <a:pt x="2538" y="19"/>
                  </a:lnTo>
                  <a:cubicBezTo>
                    <a:pt x="2554" y="6"/>
                    <a:pt x="2574" y="0"/>
                    <a:pt x="2594" y="2"/>
                  </a:cubicBezTo>
                  <a:lnTo>
                    <a:pt x="3096" y="63"/>
                  </a:lnTo>
                  <a:cubicBezTo>
                    <a:pt x="3133" y="67"/>
                    <a:pt x="3161" y="99"/>
                    <a:pt x="3160" y="137"/>
                  </a:cubicBezTo>
                  <a:lnTo>
                    <a:pt x="3145" y="711"/>
                  </a:lnTo>
                  <a:cubicBezTo>
                    <a:pt x="3144" y="747"/>
                    <a:pt x="3116" y="778"/>
                    <a:pt x="3079" y="781"/>
                  </a:cubicBezTo>
                  <a:lnTo>
                    <a:pt x="2838" y="802"/>
                  </a:lnTo>
                  <a:lnTo>
                    <a:pt x="2815" y="1039"/>
                  </a:lnTo>
                  <a:cubicBezTo>
                    <a:pt x="2812" y="1078"/>
                    <a:pt x="2779" y="1106"/>
                    <a:pt x="2740" y="1105"/>
                  </a:cubicBezTo>
                  <a:lnTo>
                    <a:pt x="2477" y="1093"/>
                  </a:lnTo>
                  <a:lnTo>
                    <a:pt x="2470" y="1293"/>
                  </a:lnTo>
                  <a:cubicBezTo>
                    <a:pt x="2469" y="1331"/>
                    <a:pt x="2438" y="1362"/>
                    <a:pt x="2400" y="1363"/>
                  </a:cubicBezTo>
                  <a:lnTo>
                    <a:pt x="2180" y="1368"/>
                  </a:lnTo>
                  <a:lnTo>
                    <a:pt x="2167" y="1675"/>
                  </a:lnTo>
                  <a:cubicBezTo>
                    <a:pt x="2167" y="1695"/>
                    <a:pt x="2157" y="1714"/>
                    <a:pt x="2142" y="1727"/>
                  </a:cubicBezTo>
                  <a:lnTo>
                    <a:pt x="1925" y="1913"/>
                  </a:lnTo>
                  <a:cubicBezTo>
                    <a:pt x="1967" y="2241"/>
                    <a:pt x="1844" y="2570"/>
                    <a:pt x="1599" y="2780"/>
                  </a:cubicBezTo>
                  <a:cubicBezTo>
                    <a:pt x="1428" y="2926"/>
                    <a:pt x="1208" y="3007"/>
                    <a:pt x="981" y="3007"/>
                  </a:cubicBezTo>
                </a:path>
              </a:pathLst>
            </a:custGeom>
            <a:solidFill>
              <a:schemeClr val="accent1"/>
            </a:solidFill>
            <a:ln w="38100">
              <a:solidFill>
                <a:srgbClr val="FFC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35">
              <a:extLst>
                <a:ext uri="{FF2B5EF4-FFF2-40B4-BE49-F238E27FC236}">
                  <a16:creationId xmlns:a16="http://schemas.microsoft.com/office/drawing/2014/main" id="{1A858507-D3EF-434F-9CB5-E4F58C966B45}"/>
                </a:ext>
              </a:extLst>
            </p:cNvPr>
            <p:cNvSpPr>
              <a:spLocks noEditPoints="1"/>
            </p:cNvSpPr>
            <p:nvPr/>
          </p:nvSpPr>
          <p:spPr bwMode="auto">
            <a:xfrm>
              <a:off x="3854450" y="1403350"/>
              <a:ext cx="92075" cy="84138"/>
            </a:xfrm>
            <a:custGeom>
              <a:avLst/>
              <a:gdLst>
                <a:gd name="T0" fmla="*/ 365 w 730"/>
                <a:gd name="T1" fmla="*/ 145 h 652"/>
                <a:gd name="T2" fmla="*/ 247 w 730"/>
                <a:gd name="T3" fmla="*/ 189 h 652"/>
                <a:gd name="T4" fmla="*/ 227 w 730"/>
                <a:gd name="T5" fmla="*/ 444 h 652"/>
                <a:gd name="T6" fmla="*/ 365 w 730"/>
                <a:gd name="T7" fmla="*/ 507 h 652"/>
                <a:gd name="T8" fmla="*/ 483 w 730"/>
                <a:gd name="T9" fmla="*/ 464 h 652"/>
                <a:gd name="T10" fmla="*/ 503 w 730"/>
                <a:gd name="T11" fmla="*/ 209 h 652"/>
                <a:gd name="T12" fmla="*/ 365 w 730"/>
                <a:gd name="T13" fmla="*/ 145 h 652"/>
                <a:gd name="T14" fmla="*/ 365 w 730"/>
                <a:gd name="T15" fmla="*/ 652 h 652"/>
                <a:gd name="T16" fmla="*/ 117 w 730"/>
                <a:gd name="T17" fmla="*/ 539 h 652"/>
                <a:gd name="T18" fmla="*/ 153 w 730"/>
                <a:gd name="T19" fmla="*/ 79 h 652"/>
                <a:gd name="T20" fmla="*/ 365 w 730"/>
                <a:gd name="T21" fmla="*/ 0 h 652"/>
                <a:gd name="T22" fmla="*/ 613 w 730"/>
                <a:gd name="T23" fmla="*/ 114 h 652"/>
                <a:gd name="T24" fmla="*/ 577 w 730"/>
                <a:gd name="T25" fmla="*/ 574 h 652"/>
                <a:gd name="T26" fmla="*/ 365 w 730"/>
                <a:gd name="T27" fmla="*/ 65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0" h="652">
                  <a:moveTo>
                    <a:pt x="365" y="145"/>
                  </a:moveTo>
                  <a:cubicBezTo>
                    <a:pt x="322" y="145"/>
                    <a:pt x="280" y="161"/>
                    <a:pt x="247" y="189"/>
                  </a:cubicBezTo>
                  <a:cubicBezTo>
                    <a:pt x="171" y="254"/>
                    <a:pt x="163" y="368"/>
                    <a:pt x="227" y="444"/>
                  </a:cubicBezTo>
                  <a:cubicBezTo>
                    <a:pt x="262" y="484"/>
                    <a:pt x="312" y="507"/>
                    <a:pt x="365" y="507"/>
                  </a:cubicBezTo>
                  <a:cubicBezTo>
                    <a:pt x="408" y="507"/>
                    <a:pt x="450" y="492"/>
                    <a:pt x="483" y="464"/>
                  </a:cubicBezTo>
                  <a:cubicBezTo>
                    <a:pt x="559" y="399"/>
                    <a:pt x="567" y="285"/>
                    <a:pt x="503" y="209"/>
                  </a:cubicBezTo>
                  <a:cubicBezTo>
                    <a:pt x="468" y="168"/>
                    <a:pt x="418" y="145"/>
                    <a:pt x="365" y="145"/>
                  </a:cubicBezTo>
                  <a:close/>
                  <a:moveTo>
                    <a:pt x="365" y="652"/>
                  </a:moveTo>
                  <a:cubicBezTo>
                    <a:pt x="270" y="652"/>
                    <a:pt x="179" y="611"/>
                    <a:pt x="117" y="539"/>
                  </a:cubicBezTo>
                  <a:cubicBezTo>
                    <a:pt x="0" y="402"/>
                    <a:pt x="16" y="196"/>
                    <a:pt x="153" y="79"/>
                  </a:cubicBezTo>
                  <a:cubicBezTo>
                    <a:pt x="212" y="28"/>
                    <a:pt x="287" y="0"/>
                    <a:pt x="365" y="0"/>
                  </a:cubicBezTo>
                  <a:cubicBezTo>
                    <a:pt x="460" y="0"/>
                    <a:pt x="551" y="42"/>
                    <a:pt x="613" y="114"/>
                  </a:cubicBezTo>
                  <a:cubicBezTo>
                    <a:pt x="730" y="251"/>
                    <a:pt x="714" y="457"/>
                    <a:pt x="577" y="574"/>
                  </a:cubicBezTo>
                  <a:cubicBezTo>
                    <a:pt x="518" y="625"/>
                    <a:pt x="443" y="652"/>
                    <a:pt x="365" y="652"/>
                  </a:cubicBezTo>
                </a:path>
              </a:pathLst>
            </a:custGeom>
            <a:solidFill>
              <a:schemeClr val="accent1"/>
            </a:solidFill>
            <a:ln w="38100">
              <a:solidFill>
                <a:srgbClr val="FFC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36">
              <a:extLst>
                <a:ext uri="{FF2B5EF4-FFF2-40B4-BE49-F238E27FC236}">
                  <a16:creationId xmlns:a16="http://schemas.microsoft.com/office/drawing/2014/main" id="{E69EE17B-C2ED-4BEF-8709-DF20B44447A7}"/>
                </a:ext>
              </a:extLst>
            </p:cNvPr>
            <p:cNvSpPr>
              <a:spLocks/>
            </p:cNvSpPr>
            <p:nvPr/>
          </p:nvSpPr>
          <p:spPr bwMode="auto">
            <a:xfrm>
              <a:off x="3994150" y="1177925"/>
              <a:ext cx="207963" cy="179388"/>
            </a:xfrm>
            <a:custGeom>
              <a:avLst/>
              <a:gdLst>
                <a:gd name="T0" fmla="*/ 81 w 1628"/>
                <a:gd name="T1" fmla="*/ 1408 h 1408"/>
                <a:gd name="T2" fmla="*/ 26 w 1628"/>
                <a:gd name="T3" fmla="*/ 1383 h 1408"/>
                <a:gd name="T4" fmla="*/ 34 w 1628"/>
                <a:gd name="T5" fmla="*/ 1281 h 1408"/>
                <a:gd name="T6" fmla="*/ 1500 w 1628"/>
                <a:gd name="T7" fmla="*/ 25 h 1408"/>
                <a:gd name="T8" fmla="*/ 1602 w 1628"/>
                <a:gd name="T9" fmla="*/ 34 h 1408"/>
                <a:gd name="T10" fmla="*/ 1594 w 1628"/>
                <a:gd name="T11" fmla="*/ 135 h 1408"/>
                <a:gd name="T12" fmla="*/ 128 w 1628"/>
                <a:gd name="T13" fmla="*/ 1391 h 1408"/>
                <a:gd name="T14" fmla="*/ 81 w 1628"/>
                <a:gd name="T15" fmla="*/ 1408 h 1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8" h="1408">
                  <a:moveTo>
                    <a:pt x="81" y="1408"/>
                  </a:moveTo>
                  <a:cubicBezTo>
                    <a:pt x="61" y="1408"/>
                    <a:pt x="40" y="1399"/>
                    <a:pt x="26" y="1383"/>
                  </a:cubicBezTo>
                  <a:cubicBezTo>
                    <a:pt x="0" y="1352"/>
                    <a:pt x="4" y="1306"/>
                    <a:pt x="34" y="1281"/>
                  </a:cubicBezTo>
                  <a:lnTo>
                    <a:pt x="1500" y="25"/>
                  </a:lnTo>
                  <a:cubicBezTo>
                    <a:pt x="1530" y="0"/>
                    <a:pt x="1576" y="3"/>
                    <a:pt x="1602" y="34"/>
                  </a:cubicBezTo>
                  <a:cubicBezTo>
                    <a:pt x="1628" y="64"/>
                    <a:pt x="1625" y="110"/>
                    <a:pt x="1594" y="135"/>
                  </a:cubicBezTo>
                  <a:lnTo>
                    <a:pt x="128" y="1391"/>
                  </a:lnTo>
                  <a:cubicBezTo>
                    <a:pt x="115" y="1402"/>
                    <a:pt x="98" y="1408"/>
                    <a:pt x="81" y="1408"/>
                  </a:cubicBezTo>
                  <a:close/>
                </a:path>
              </a:pathLst>
            </a:custGeom>
            <a:solidFill>
              <a:schemeClr val="accent1"/>
            </a:solidFill>
            <a:ln w="38100">
              <a:solidFill>
                <a:srgbClr val="FFC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8" name="TextBox 17">
            <a:extLst>
              <a:ext uri="{FF2B5EF4-FFF2-40B4-BE49-F238E27FC236}">
                <a16:creationId xmlns:a16="http://schemas.microsoft.com/office/drawing/2014/main" id="{2373BCD6-1756-49D5-99B9-113F989B913D}"/>
              </a:ext>
            </a:extLst>
          </p:cNvPr>
          <p:cNvSpPr txBox="1"/>
          <p:nvPr/>
        </p:nvSpPr>
        <p:spPr>
          <a:xfrm>
            <a:off x="1715099" y="3698612"/>
            <a:ext cx="2257349" cy="584775"/>
          </a:xfrm>
          <a:prstGeom prst="rect">
            <a:avLst/>
          </a:prstGeom>
          <a:noFill/>
        </p:spPr>
        <p:txBody>
          <a:bodyPr wrap="none" rtlCol="0">
            <a:spAutoFit/>
          </a:bodyPr>
          <a:lstStyle/>
          <a:p>
            <a:r>
              <a:rPr lang="en-US" sz="3200"/>
              <a:t>Khóa chính</a:t>
            </a:r>
            <a:endParaRPr lang="vi-VN" sz="3200"/>
          </a:p>
        </p:txBody>
      </p:sp>
      <p:sp>
        <p:nvSpPr>
          <p:cNvPr id="19" name="TextBox 18">
            <a:extLst>
              <a:ext uri="{FF2B5EF4-FFF2-40B4-BE49-F238E27FC236}">
                <a16:creationId xmlns:a16="http://schemas.microsoft.com/office/drawing/2014/main" id="{7642672A-5932-4CC0-9E77-88006A7C2686}"/>
              </a:ext>
            </a:extLst>
          </p:cNvPr>
          <p:cNvSpPr txBox="1"/>
          <p:nvPr/>
        </p:nvSpPr>
        <p:spPr>
          <a:xfrm>
            <a:off x="844003" y="4496271"/>
            <a:ext cx="9296284" cy="1938992"/>
          </a:xfrm>
          <a:prstGeom prst="rect">
            <a:avLst/>
          </a:prstGeom>
          <a:noFill/>
        </p:spPr>
        <p:txBody>
          <a:bodyPr wrap="square" rtlCol="0">
            <a:spAutoFit/>
          </a:bodyPr>
          <a:lstStyle/>
          <a:p>
            <a:pPr marL="285750" indent="-285750">
              <a:buFont typeface="Wingdings" panose="05000000000000000000" pitchFamily="2" charset="2"/>
              <a:buChar char="§"/>
            </a:pPr>
            <a:r>
              <a:rPr lang="en-US" sz="2400">
                <a:solidFill>
                  <a:schemeClr val="accent5">
                    <a:lumMod val="75000"/>
                  </a:schemeClr>
                </a:solidFill>
              </a:rPr>
              <a:t>Khóa của bảng </a:t>
            </a:r>
            <a:r>
              <a:rPr lang="en-US" sz="2400">
                <a:solidFill>
                  <a:schemeClr val="tx1">
                    <a:lumMod val="85000"/>
                    <a:lumOff val="15000"/>
                  </a:schemeClr>
                </a:solidFill>
              </a:rPr>
              <a:t>là bộ giá trị của một hoặc nhóm các tr</a:t>
            </a:r>
            <a:r>
              <a:rPr lang="vi-VN" sz="2400">
                <a:solidFill>
                  <a:schemeClr val="tx1">
                    <a:lumMod val="85000"/>
                    <a:lumOff val="15000"/>
                  </a:schemeClr>
                </a:solidFill>
              </a:rPr>
              <a:t>ư</a:t>
            </a:r>
            <a:r>
              <a:rPr lang="en-US" sz="2400">
                <a:solidFill>
                  <a:schemeClr val="tx1">
                    <a:lumMod val="85000"/>
                    <a:lumOff val="15000"/>
                  </a:schemeClr>
                </a:solidFill>
              </a:rPr>
              <a:t>ờng cho phép xác định phân biệt các bản ghi của bảng</a:t>
            </a:r>
            <a:endParaRPr lang="en-US" sz="2400"/>
          </a:p>
          <a:p>
            <a:pPr marL="285750" indent="-285750">
              <a:buFont typeface="Wingdings" panose="05000000000000000000" pitchFamily="2" charset="2"/>
              <a:buChar char="§"/>
            </a:pPr>
            <a:r>
              <a:rPr lang="en-US" sz="2400">
                <a:solidFill>
                  <a:schemeClr val="accent5">
                    <a:lumMod val="75000"/>
                  </a:schemeClr>
                </a:solidFill>
              </a:rPr>
              <a:t>Một bảng có thể có nhiều khóa.</a:t>
            </a:r>
          </a:p>
          <a:p>
            <a:pPr marL="285750" indent="-285750">
              <a:buFont typeface="Wingdings" panose="05000000000000000000" pitchFamily="2" charset="2"/>
              <a:buChar char="§"/>
            </a:pPr>
            <a:r>
              <a:rPr lang="en-US" sz="2400">
                <a:solidFill>
                  <a:schemeClr val="tx1">
                    <a:lumMod val="85000"/>
                    <a:lumOff val="15000"/>
                  </a:schemeClr>
                </a:solidFill>
              </a:rPr>
              <a:t>Chọn một khóa có số tr</a:t>
            </a:r>
            <a:r>
              <a:rPr lang="vi-VN" sz="2400">
                <a:solidFill>
                  <a:schemeClr val="tx1">
                    <a:lumMod val="85000"/>
                    <a:lumOff val="15000"/>
                  </a:schemeClr>
                </a:solidFill>
              </a:rPr>
              <a:t>ư</a:t>
            </a:r>
            <a:r>
              <a:rPr lang="en-US" sz="2400">
                <a:solidFill>
                  <a:schemeClr val="tx1">
                    <a:lumMod val="85000"/>
                    <a:lumOff val="15000"/>
                  </a:schemeClr>
                </a:solidFill>
              </a:rPr>
              <a:t>ờng ít nhất trong các khóa của bảng làm </a:t>
            </a:r>
            <a:r>
              <a:rPr lang="en-US" sz="2400">
                <a:solidFill>
                  <a:schemeClr val="accent5">
                    <a:lumMod val="75000"/>
                  </a:schemeClr>
                </a:solidFill>
              </a:rPr>
              <a:t>khóa chính</a:t>
            </a:r>
            <a:endParaRPr lang="vi-VN" sz="2400"/>
          </a:p>
        </p:txBody>
      </p:sp>
    </p:spTree>
    <p:extLst>
      <p:ext uri="{BB962C8B-B14F-4D97-AF65-F5344CB8AC3E}">
        <p14:creationId xmlns:p14="http://schemas.microsoft.com/office/powerpoint/2010/main" val="2144753802"/>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arn(inVertical)">
                                      <p:cBhvr>
                                        <p:cTn id="7" dur="500"/>
                                        <p:tgtEl>
                                          <p:spTgt spid="1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barn(inVertical)">
                                      <p:cBhvr>
                                        <p:cTn id="10" dur="500"/>
                                        <p:tgtEl>
                                          <p:spTgt spid="18"/>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barn(inVertical)">
                                      <p:cBhvr>
                                        <p:cTn id="13"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5087F2-1E53-42F7-9330-81F82B234374}"/>
              </a:ext>
            </a:extLst>
          </p:cNvPr>
          <p:cNvPicPr>
            <a:picLocks noChangeAspect="1"/>
          </p:cNvPicPr>
          <p:nvPr/>
        </p:nvPicPr>
        <p:blipFill rotWithShape="1">
          <a:blip r:embed="rId3"/>
          <a:srcRect r="29065"/>
          <a:stretch/>
        </p:blipFill>
        <p:spPr>
          <a:xfrm>
            <a:off x="765032" y="1453289"/>
            <a:ext cx="3835925" cy="3353091"/>
          </a:xfrm>
          <a:prstGeom prst="rect">
            <a:avLst/>
          </a:prstGeom>
        </p:spPr>
      </p:pic>
      <p:sp>
        <p:nvSpPr>
          <p:cNvPr id="4" name="TextBox 3">
            <a:extLst>
              <a:ext uri="{FF2B5EF4-FFF2-40B4-BE49-F238E27FC236}">
                <a16:creationId xmlns:a16="http://schemas.microsoft.com/office/drawing/2014/main" id="{714AABE0-EF0D-4DD2-B022-4C4FB16D77AB}"/>
              </a:ext>
            </a:extLst>
          </p:cNvPr>
          <p:cNvSpPr txBox="1"/>
          <p:nvPr/>
        </p:nvSpPr>
        <p:spPr>
          <a:xfrm>
            <a:off x="2083310" y="569042"/>
            <a:ext cx="1199367" cy="584775"/>
          </a:xfrm>
          <a:prstGeom prst="rect">
            <a:avLst/>
          </a:prstGeom>
          <a:noFill/>
        </p:spPr>
        <p:txBody>
          <a:bodyPr wrap="none" rtlCol="0">
            <a:spAutoFit/>
          </a:bodyPr>
          <a:lstStyle/>
          <a:p>
            <a:r>
              <a:rPr lang="en-US" sz="3200" b="1">
                <a:solidFill>
                  <a:srgbClr val="002060"/>
                </a:solidFill>
              </a:rPr>
              <a:t>Ví dụ:</a:t>
            </a:r>
            <a:endParaRPr lang="vi-VN" sz="3200" b="1">
              <a:solidFill>
                <a:srgbClr val="002060"/>
              </a:solidFill>
            </a:endParaRPr>
          </a:p>
        </p:txBody>
      </p:sp>
      <p:sp>
        <p:nvSpPr>
          <p:cNvPr id="5" name="TextBox 4">
            <a:extLst>
              <a:ext uri="{FF2B5EF4-FFF2-40B4-BE49-F238E27FC236}">
                <a16:creationId xmlns:a16="http://schemas.microsoft.com/office/drawing/2014/main" id="{CBB53BF6-7F7D-4169-B9BD-EE2E48097382}"/>
              </a:ext>
            </a:extLst>
          </p:cNvPr>
          <p:cNvSpPr txBox="1"/>
          <p:nvPr/>
        </p:nvSpPr>
        <p:spPr>
          <a:xfrm>
            <a:off x="5245101" y="1855538"/>
            <a:ext cx="5640614" cy="2308324"/>
          </a:xfrm>
          <a:prstGeom prst="rect">
            <a:avLst/>
          </a:prstGeom>
          <a:noFill/>
        </p:spPr>
        <p:txBody>
          <a:bodyPr wrap="square" rtlCol="0">
            <a:spAutoFit/>
          </a:bodyPr>
          <a:lstStyle/>
          <a:p>
            <a:pPr marL="342900" indent="-342900" algn="just">
              <a:buFont typeface="Wingdings" panose="05000000000000000000" pitchFamily="2" charset="2"/>
              <a:buChar char="§"/>
            </a:pPr>
            <a:r>
              <a:rPr lang="en-US" sz="2400">
                <a:solidFill>
                  <a:schemeClr val="accent5">
                    <a:lumMod val="75000"/>
                  </a:schemeClr>
                </a:solidFill>
              </a:rPr>
              <a:t>Tr</a:t>
            </a:r>
            <a:r>
              <a:rPr lang="vi-VN" sz="2400">
                <a:solidFill>
                  <a:schemeClr val="accent5">
                    <a:lumMod val="75000"/>
                  </a:schemeClr>
                </a:solidFill>
              </a:rPr>
              <a:t>ư</a:t>
            </a:r>
            <a:r>
              <a:rPr lang="en-US" sz="2400">
                <a:solidFill>
                  <a:schemeClr val="accent5">
                    <a:lumMod val="75000"/>
                  </a:schemeClr>
                </a:solidFill>
              </a:rPr>
              <a:t>ờng Mid </a:t>
            </a:r>
            <a:r>
              <a:rPr lang="en-US" sz="2400"/>
              <a:t>là một khóa của bảng Bản nhạc</a:t>
            </a:r>
          </a:p>
          <a:p>
            <a:pPr marL="342900" indent="-342900" algn="just">
              <a:buFont typeface="Wingdings" panose="05000000000000000000" pitchFamily="2" charset="2"/>
              <a:buChar char="§"/>
            </a:pPr>
            <a:r>
              <a:rPr lang="en-US" sz="2400">
                <a:solidFill>
                  <a:schemeClr val="accent5">
                    <a:lumMod val="75000"/>
                  </a:schemeClr>
                </a:solidFill>
              </a:rPr>
              <a:t>Tr</a:t>
            </a:r>
            <a:r>
              <a:rPr lang="vi-VN" sz="2400">
                <a:solidFill>
                  <a:schemeClr val="accent5">
                    <a:lumMod val="75000"/>
                  </a:schemeClr>
                </a:solidFill>
              </a:rPr>
              <a:t>ư</a:t>
            </a:r>
            <a:r>
              <a:rPr lang="en-US" sz="2400">
                <a:solidFill>
                  <a:schemeClr val="accent5">
                    <a:lumMod val="75000"/>
                  </a:schemeClr>
                </a:solidFill>
              </a:rPr>
              <a:t>ờng Aid </a:t>
            </a:r>
            <a:r>
              <a:rPr lang="en-US" sz="2400">
                <a:solidFill>
                  <a:schemeClr val="tx1">
                    <a:lumMod val="85000"/>
                    <a:lumOff val="15000"/>
                  </a:schemeClr>
                </a:solidFill>
              </a:rPr>
              <a:t>và</a:t>
            </a:r>
            <a:r>
              <a:rPr lang="en-US" sz="2400">
                <a:solidFill>
                  <a:schemeClr val="accent5">
                    <a:lumMod val="75000"/>
                  </a:schemeClr>
                </a:solidFill>
              </a:rPr>
              <a:t> TenBN </a:t>
            </a:r>
            <a:r>
              <a:rPr lang="en-US" sz="2400"/>
              <a:t>chúng làm thành một khóa của bảng Bản nhạc</a:t>
            </a:r>
          </a:p>
          <a:p>
            <a:pPr marL="342900" indent="-342900" algn="just">
              <a:buFont typeface="Wingdings" panose="05000000000000000000" pitchFamily="2" charset="2"/>
              <a:buChar char="§"/>
            </a:pPr>
            <a:r>
              <a:rPr lang="en-US" sz="2400">
                <a:solidFill>
                  <a:schemeClr val="accent5">
                    <a:lumMod val="75000"/>
                  </a:schemeClr>
                </a:solidFill>
              </a:rPr>
              <a:t>Tr</a:t>
            </a:r>
            <a:r>
              <a:rPr lang="vi-VN" sz="2400">
                <a:solidFill>
                  <a:schemeClr val="accent5">
                    <a:lumMod val="75000"/>
                  </a:schemeClr>
                </a:solidFill>
              </a:rPr>
              <a:t>ư</a:t>
            </a:r>
            <a:r>
              <a:rPr lang="en-US" sz="2400">
                <a:solidFill>
                  <a:schemeClr val="accent5">
                    <a:lumMod val="75000"/>
                  </a:schemeClr>
                </a:solidFill>
              </a:rPr>
              <a:t>ờng Mid, Aid, TenBN </a:t>
            </a:r>
            <a:r>
              <a:rPr lang="en-US" sz="2400"/>
              <a:t>chúng làm thành một khóa của bảng Bàn nhạc</a:t>
            </a:r>
            <a:endParaRPr lang="vi-VN" sz="2400"/>
          </a:p>
        </p:txBody>
      </p:sp>
      <p:sp>
        <p:nvSpPr>
          <p:cNvPr id="6" name="TextBox 5">
            <a:extLst>
              <a:ext uri="{FF2B5EF4-FFF2-40B4-BE49-F238E27FC236}">
                <a16:creationId xmlns:a16="http://schemas.microsoft.com/office/drawing/2014/main" id="{9ED88A56-F740-4F0A-9010-82AE80600811}"/>
              </a:ext>
            </a:extLst>
          </p:cNvPr>
          <p:cNvSpPr txBox="1"/>
          <p:nvPr/>
        </p:nvSpPr>
        <p:spPr>
          <a:xfrm>
            <a:off x="5486400" y="4390881"/>
            <a:ext cx="5399316" cy="1200329"/>
          </a:xfrm>
          <a:prstGeom prst="rect">
            <a:avLst/>
          </a:prstGeom>
          <a:noFill/>
        </p:spPr>
        <p:txBody>
          <a:bodyPr wrap="square" rtlCol="0">
            <a:spAutoFit/>
          </a:bodyPr>
          <a:lstStyle/>
          <a:p>
            <a:pPr algn="just"/>
            <a:r>
              <a:rPr lang="en-US" sz="2400">
                <a:solidFill>
                  <a:srgbClr val="7030A0"/>
                </a:solidFill>
              </a:rPr>
              <a:t>(vì giá trị của chúng tại các bản ghi không trùng nhau nên phân biệt đ</a:t>
            </a:r>
            <a:r>
              <a:rPr lang="vi-VN" sz="2400">
                <a:solidFill>
                  <a:srgbClr val="7030A0"/>
                </a:solidFill>
              </a:rPr>
              <a:t>ư</a:t>
            </a:r>
            <a:r>
              <a:rPr lang="en-US" sz="2400">
                <a:solidFill>
                  <a:srgbClr val="7030A0"/>
                </a:solidFill>
              </a:rPr>
              <a:t>ợc các bản ghi)</a:t>
            </a:r>
            <a:endParaRPr lang="vi-VN" sz="2400">
              <a:solidFill>
                <a:srgbClr val="7030A0"/>
              </a:solidFill>
            </a:endParaRPr>
          </a:p>
        </p:txBody>
      </p:sp>
      <p:sp>
        <p:nvSpPr>
          <p:cNvPr id="7" name="TextBox 6">
            <a:extLst>
              <a:ext uri="{FF2B5EF4-FFF2-40B4-BE49-F238E27FC236}">
                <a16:creationId xmlns:a16="http://schemas.microsoft.com/office/drawing/2014/main" id="{78AF9A82-4ED7-42A8-81E7-3B6136E3D908}"/>
              </a:ext>
            </a:extLst>
          </p:cNvPr>
          <p:cNvSpPr txBox="1"/>
          <p:nvPr/>
        </p:nvSpPr>
        <p:spPr>
          <a:xfrm>
            <a:off x="765032" y="5840822"/>
            <a:ext cx="10439997" cy="954107"/>
          </a:xfrm>
          <a:prstGeom prst="rect">
            <a:avLst/>
          </a:prstGeom>
          <a:noFill/>
        </p:spPr>
        <p:txBody>
          <a:bodyPr wrap="square" rtlCol="0">
            <a:spAutoFit/>
          </a:bodyPr>
          <a:lstStyle/>
          <a:p>
            <a:r>
              <a:rPr lang="en-US" sz="2800">
                <a:solidFill>
                  <a:schemeClr val="accent5">
                    <a:lumMod val="75000"/>
                  </a:schemeClr>
                </a:solidFill>
                <a:sym typeface="Wingdings" panose="05000000000000000000" pitchFamily="2" charset="2"/>
              </a:rPr>
              <a:t> </a:t>
            </a:r>
            <a:r>
              <a:rPr lang="en-US" sz="2800">
                <a:solidFill>
                  <a:schemeClr val="accent5">
                    <a:lumMod val="75000"/>
                  </a:schemeClr>
                </a:solidFill>
              </a:rPr>
              <a:t>Trong các khóa trên, chọn khóa tạo từ tr</a:t>
            </a:r>
            <a:r>
              <a:rPr lang="vi-VN" sz="2800">
                <a:solidFill>
                  <a:schemeClr val="accent5">
                    <a:lumMod val="75000"/>
                  </a:schemeClr>
                </a:solidFill>
              </a:rPr>
              <a:t>ư</a:t>
            </a:r>
            <a:r>
              <a:rPr lang="en-US" sz="2800">
                <a:solidFill>
                  <a:schemeClr val="accent5">
                    <a:lumMod val="75000"/>
                  </a:schemeClr>
                </a:solidFill>
              </a:rPr>
              <a:t>ờng Mid làm khóa chính vì có số tr</a:t>
            </a:r>
            <a:r>
              <a:rPr lang="vi-VN" sz="2800">
                <a:solidFill>
                  <a:schemeClr val="accent5">
                    <a:lumMod val="75000"/>
                  </a:schemeClr>
                </a:solidFill>
              </a:rPr>
              <a:t>ư</a:t>
            </a:r>
            <a:r>
              <a:rPr lang="en-US" sz="2800">
                <a:solidFill>
                  <a:schemeClr val="accent5">
                    <a:lumMod val="75000"/>
                  </a:schemeClr>
                </a:solidFill>
              </a:rPr>
              <a:t>ờng ít nhất</a:t>
            </a:r>
            <a:endParaRPr lang="vi-VN" sz="2800">
              <a:solidFill>
                <a:schemeClr val="accent5">
                  <a:lumMod val="75000"/>
                </a:schemeClr>
              </a:solidFill>
            </a:endParaRPr>
          </a:p>
        </p:txBody>
      </p:sp>
    </p:spTree>
    <p:extLst>
      <p:ext uri="{BB962C8B-B14F-4D97-AF65-F5344CB8AC3E}">
        <p14:creationId xmlns:p14="http://schemas.microsoft.com/office/powerpoint/2010/main" val="166801677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Key11" descr="{&quot;Key&quot;:&quot;POWER_USER_SHAPE_ICON&quot;,&quot;Value&quot;:&quot;POWER_USER_SHAPE_ICON_STYLE_1&quot;}">
            <a:extLst>
              <a:ext uri="{FF2B5EF4-FFF2-40B4-BE49-F238E27FC236}">
                <a16:creationId xmlns:a16="http://schemas.microsoft.com/office/drawing/2014/main" id="{EE5B5C56-52A6-4063-A408-7078F9888E6A}"/>
              </a:ext>
            </a:extLst>
          </p:cNvPr>
          <p:cNvGrpSpPr>
            <a:grpSpLocks noChangeAspect="1"/>
          </p:cNvGrpSpPr>
          <p:nvPr/>
        </p:nvGrpSpPr>
        <p:grpSpPr>
          <a:xfrm>
            <a:off x="1508905" y="483465"/>
            <a:ext cx="1003113" cy="914400"/>
            <a:chOff x="7407419" y="2698217"/>
            <a:chExt cx="413417" cy="376855"/>
          </a:xfrm>
          <a:solidFill>
            <a:schemeClr val="accent1"/>
          </a:solidFill>
        </p:grpSpPr>
        <p:sp>
          <p:nvSpPr>
            <p:cNvPr id="12" name="Freeform 437">
              <a:extLst>
                <a:ext uri="{FF2B5EF4-FFF2-40B4-BE49-F238E27FC236}">
                  <a16:creationId xmlns:a16="http://schemas.microsoft.com/office/drawing/2014/main" id="{1F71408B-5D98-4FE5-9404-AA90736D424D}"/>
                </a:ext>
              </a:extLst>
            </p:cNvPr>
            <p:cNvSpPr>
              <a:spLocks/>
            </p:cNvSpPr>
            <p:nvPr/>
          </p:nvSpPr>
          <p:spPr bwMode="auto">
            <a:xfrm>
              <a:off x="7635221" y="2923205"/>
              <a:ext cx="50622" cy="28124"/>
            </a:xfrm>
            <a:custGeom>
              <a:avLst/>
              <a:gdLst>
                <a:gd name="T0" fmla="*/ 791 w 815"/>
                <a:gd name="T1" fmla="*/ 412 h 412"/>
                <a:gd name="T2" fmla="*/ 692 w 815"/>
                <a:gd name="T3" fmla="*/ 400 h 412"/>
                <a:gd name="T4" fmla="*/ 90 w 815"/>
                <a:gd name="T5" fmla="*/ 224 h 412"/>
                <a:gd name="T6" fmla="*/ 0 w 815"/>
                <a:gd name="T7" fmla="*/ 180 h 412"/>
                <a:gd name="T8" fmla="*/ 87 w 815"/>
                <a:gd name="T9" fmla="*/ 0 h 412"/>
                <a:gd name="T10" fmla="*/ 177 w 815"/>
                <a:gd name="T11" fmla="*/ 43 h 412"/>
                <a:gd name="T12" fmla="*/ 717 w 815"/>
                <a:gd name="T13" fmla="*/ 202 h 412"/>
                <a:gd name="T14" fmla="*/ 815 w 815"/>
                <a:gd name="T15" fmla="*/ 214 h 412"/>
                <a:gd name="T16" fmla="*/ 791 w 815"/>
                <a:gd name="T17"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5" h="412">
                  <a:moveTo>
                    <a:pt x="791" y="412"/>
                  </a:moveTo>
                  <a:lnTo>
                    <a:pt x="692" y="400"/>
                  </a:lnTo>
                  <a:cubicBezTo>
                    <a:pt x="482" y="374"/>
                    <a:pt x="279" y="314"/>
                    <a:pt x="90" y="224"/>
                  </a:cubicBezTo>
                  <a:lnTo>
                    <a:pt x="0" y="180"/>
                  </a:lnTo>
                  <a:lnTo>
                    <a:pt x="87" y="0"/>
                  </a:lnTo>
                  <a:lnTo>
                    <a:pt x="177" y="43"/>
                  </a:lnTo>
                  <a:cubicBezTo>
                    <a:pt x="347" y="125"/>
                    <a:pt x="528" y="178"/>
                    <a:pt x="717" y="202"/>
                  </a:cubicBezTo>
                  <a:lnTo>
                    <a:pt x="815" y="214"/>
                  </a:lnTo>
                  <a:lnTo>
                    <a:pt x="791" y="412"/>
                  </a:lnTo>
                  <a:close/>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3" name="Freeform 438">
              <a:extLst>
                <a:ext uri="{FF2B5EF4-FFF2-40B4-BE49-F238E27FC236}">
                  <a16:creationId xmlns:a16="http://schemas.microsoft.com/office/drawing/2014/main" id="{AF4CD770-3A62-4C6E-8D88-EE4FBBFC406A}"/>
                </a:ext>
              </a:extLst>
            </p:cNvPr>
            <p:cNvSpPr>
              <a:spLocks/>
            </p:cNvSpPr>
            <p:nvPr/>
          </p:nvSpPr>
          <p:spPr bwMode="auto">
            <a:xfrm>
              <a:off x="7680219" y="2866958"/>
              <a:ext cx="129368" cy="84371"/>
            </a:xfrm>
            <a:custGeom>
              <a:avLst/>
              <a:gdLst>
                <a:gd name="T0" fmla="*/ 217 w 2012"/>
                <a:gd name="T1" fmla="*/ 1300 h 1300"/>
                <a:gd name="T2" fmla="*/ 97 w 2012"/>
                <a:gd name="T3" fmla="*/ 1297 h 1300"/>
                <a:gd name="T4" fmla="*/ 3 w 2012"/>
                <a:gd name="T5" fmla="*/ 1191 h 1300"/>
                <a:gd name="T6" fmla="*/ 110 w 2012"/>
                <a:gd name="T7" fmla="*/ 1097 h 1300"/>
                <a:gd name="T8" fmla="*/ 1364 w 2012"/>
                <a:gd name="T9" fmla="*/ 668 h 1300"/>
                <a:gd name="T10" fmla="*/ 1807 w 2012"/>
                <a:gd name="T11" fmla="*/ 73 h 1300"/>
                <a:gd name="T12" fmla="*/ 1939 w 2012"/>
                <a:gd name="T13" fmla="*/ 22 h 1300"/>
                <a:gd name="T14" fmla="*/ 1990 w 2012"/>
                <a:gd name="T15" fmla="*/ 155 h 1300"/>
                <a:gd name="T16" fmla="*/ 1496 w 2012"/>
                <a:gd name="T17" fmla="*/ 819 h 1300"/>
                <a:gd name="T18" fmla="*/ 217 w 2012"/>
                <a:gd name="T19" fmla="*/ 1300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2" h="1300">
                  <a:moveTo>
                    <a:pt x="217" y="1300"/>
                  </a:moveTo>
                  <a:cubicBezTo>
                    <a:pt x="177" y="1300"/>
                    <a:pt x="137" y="1299"/>
                    <a:pt x="97" y="1297"/>
                  </a:cubicBezTo>
                  <a:cubicBezTo>
                    <a:pt x="42" y="1293"/>
                    <a:pt x="0" y="1246"/>
                    <a:pt x="3" y="1191"/>
                  </a:cubicBezTo>
                  <a:cubicBezTo>
                    <a:pt x="7" y="1136"/>
                    <a:pt x="54" y="1094"/>
                    <a:pt x="110" y="1097"/>
                  </a:cubicBezTo>
                  <a:cubicBezTo>
                    <a:pt x="571" y="1125"/>
                    <a:pt x="1016" y="973"/>
                    <a:pt x="1364" y="668"/>
                  </a:cubicBezTo>
                  <a:cubicBezTo>
                    <a:pt x="1555" y="502"/>
                    <a:pt x="1704" y="301"/>
                    <a:pt x="1807" y="73"/>
                  </a:cubicBezTo>
                  <a:cubicBezTo>
                    <a:pt x="1830" y="22"/>
                    <a:pt x="1889" y="0"/>
                    <a:pt x="1939" y="22"/>
                  </a:cubicBezTo>
                  <a:cubicBezTo>
                    <a:pt x="1990" y="45"/>
                    <a:pt x="2012" y="104"/>
                    <a:pt x="1990" y="155"/>
                  </a:cubicBezTo>
                  <a:cubicBezTo>
                    <a:pt x="1875" y="410"/>
                    <a:pt x="1709" y="633"/>
                    <a:pt x="1496" y="819"/>
                  </a:cubicBezTo>
                  <a:cubicBezTo>
                    <a:pt x="1138" y="1132"/>
                    <a:pt x="688" y="1300"/>
                    <a:pt x="217" y="1300"/>
                  </a:cubicBezTo>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4" name="Freeform 439">
              <a:extLst>
                <a:ext uri="{FF2B5EF4-FFF2-40B4-BE49-F238E27FC236}">
                  <a16:creationId xmlns:a16="http://schemas.microsoft.com/office/drawing/2014/main" id="{8F3412D9-3185-47AD-AE99-D775885C999C}"/>
                </a:ext>
              </a:extLst>
            </p:cNvPr>
            <p:cNvSpPr>
              <a:spLocks/>
            </p:cNvSpPr>
            <p:nvPr/>
          </p:nvSpPr>
          <p:spPr bwMode="auto">
            <a:xfrm>
              <a:off x="7803962" y="2841646"/>
              <a:ext cx="14063" cy="14063"/>
            </a:xfrm>
            <a:custGeom>
              <a:avLst/>
              <a:gdLst>
                <a:gd name="T0" fmla="*/ 110 w 230"/>
                <a:gd name="T1" fmla="*/ 210 h 210"/>
                <a:gd name="T2" fmla="*/ 71 w 230"/>
                <a:gd name="T3" fmla="*/ 202 h 210"/>
                <a:gd name="T4" fmla="*/ 12 w 230"/>
                <a:gd name="T5" fmla="*/ 83 h 210"/>
                <a:gd name="T6" fmla="*/ 104 w 230"/>
                <a:gd name="T7" fmla="*/ 3 h 210"/>
                <a:gd name="T8" fmla="*/ 158 w 230"/>
                <a:gd name="T9" fmla="*/ 10 h 210"/>
                <a:gd name="T10" fmla="*/ 214 w 230"/>
                <a:gd name="T11" fmla="*/ 132 h 210"/>
                <a:gd name="T12" fmla="*/ 123 w 230"/>
                <a:gd name="T13" fmla="*/ 209 h 210"/>
                <a:gd name="T14" fmla="*/ 110 w 230"/>
                <a:gd name="T15" fmla="*/ 210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0" h="210">
                  <a:moveTo>
                    <a:pt x="110" y="210"/>
                  </a:moveTo>
                  <a:cubicBezTo>
                    <a:pt x="97" y="210"/>
                    <a:pt x="83" y="207"/>
                    <a:pt x="71" y="202"/>
                  </a:cubicBezTo>
                  <a:cubicBezTo>
                    <a:pt x="36" y="187"/>
                    <a:pt x="0" y="148"/>
                    <a:pt x="12" y="83"/>
                  </a:cubicBezTo>
                  <a:cubicBezTo>
                    <a:pt x="21" y="38"/>
                    <a:pt x="59" y="5"/>
                    <a:pt x="104" y="3"/>
                  </a:cubicBezTo>
                  <a:cubicBezTo>
                    <a:pt x="123" y="0"/>
                    <a:pt x="141" y="3"/>
                    <a:pt x="158" y="10"/>
                  </a:cubicBezTo>
                  <a:cubicBezTo>
                    <a:pt x="186" y="23"/>
                    <a:pt x="230" y="62"/>
                    <a:pt x="214" y="132"/>
                  </a:cubicBezTo>
                  <a:cubicBezTo>
                    <a:pt x="204" y="176"/>
                    <a:pt x="166" y="206"/>
                    <a:pt x="123" y="209"/>
                  </a:cubicBezTo>
                  <a:cubicBezTo>
                    <a:pt x="119" y="210"/>
                    <a:pt x="114" y="210"/>
                    <a:pt x="110" y="210"/>
                  </a:cubicBezTo>
                  <a:close/>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5" name="Freeform 440">
              <a:extLst>
                <a:ext uri="{FF2B5EF4-FFF2-40B4-BE49-F238E27FC236}">
                  <a16:creationId xmlns:a16="http://schemas.microsoft.com/office/drawing/2014/main" id="{1F5E1895-E369-4021-898E-F406C410D1C3}"/>
                </a:ext>
              </a:extLst>
            </p:cNvPr>
            <p:cNvSpPr>
              <a:spLocks/>
            </p:cNvSpPr>
            <p:nvPr/>
          </p:nvSpPr>
          <p:spPr bwMode="auto">
            <a:xfrm>
              <a:off x="7567724" y="2698217"/>
              <a:ext cx="253112" cy="132181"/>
            </a:xfrm>
            <a:custGeom>
              <a:avLst/>
              <a:gdLst>
                <a:gd name="T0" fmla="*/ 3794 w 3894"/>
                <a:gd name="T1" fmla="*/ 2062 h 2062"/>
                <a:gd name="T2" fmla="*/ 3694 w 3894"/>
                <a:gd name="T3" fmla="*/ 1963 h 2062"/>
                <a:gd name="T4" fmla="*/ 3262 w 3894"/>
                <a:gd name="T5" fmla="*/ 828 h 2062"/>
                <a:gd name="T6" fmla="*/ 2063 w 3894"/>
                <a:gd name="T7" fmla="*/ 235 h 2062"/>
                <a:gd name="T8" fmla="*/ 796 w 3894"/>
                <a:gd name="T9" fmla="*/ 663 h 2062"/>
                <a:gd name="T10" fmla="*/ 203 w 3894"/>
                <a:gd name="T11" fmla="*/ 1846 h 2062"/>
                <a:gd name="T12" fmla="*/ 96 w 3894"/>
                <a:gd name="T13" fmla="*/ 1938 h 2062"/>
                <a:gd name="T14" fmla="*/ 5 w 3894"/>
                <a:gd name="T15" fmla="*/ 1831 h 2062"/>
                <a:gd name="T16" fmla="*/ 665 w 3894"/>
                <a:gd name="T17" fmla="*/ 512 h 2062"/>
                <a:gd name="T18" fmla="*/ 2077 w 3894"/>
                <a:gd name="T19" fmla="*/ 35 h 2062"/>
                <a:gd name="T20" fmla="*/ 3412 w 3894"/>
                <a:gd name="T21" fmla="*/ 697 h 2062"/>
                <a:gd name="T22" fmla="*/ 3894 w 3894"/>
                <a:gd name="T23" fmla="*/ 1961 h 2062"/>
                <a:gd name="T24" fmla="*/ 3795 w 3894"/>
                <a:gd name="T25" fmla="*/ 2062 h 2062"/>
                <a:gd name="T26" fmla="*/ 3794 w 3894"/>
                <a:gd name="T27" fmla="*/ 2062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94" h="2062">
                  <a:moveTo>
                    <a:pt x="3794" y="2062"/>
                  </a:moveTo>
                  <a:cubicBezTo>
                    <a:pt x="3739" y="2062"/>
                    <a:pt x="3695" y="2018"/>
                    <a:pt x="3694" y="1963"/>
                  </a:cubicBezTo>
                  <a:cubicBezTo>
                    <a:pt x="3690" y="1546"/>
                    <a:pt x="3537" y="1143"/>
                    <a:pt x="3262" y="828"/>
                  </a:cubicBezTo>
                  <a:cubicBezTo>
                    <a:pt x="2955" y="477"/>
                    <a:pt x="2529" y="266"/>
                    <a:pt x="2063" y="235"/>
                  </a:cubicBezTo>
                  <a:cubicBezTo>
                    <a:pt x="1598" y="203"/>
                    <a:pt x="1147" y="355"/>
                    <a:pt x="796" y="663"/>
                  </a:cubicBezTo>
                  <a:cubicBezTo>
                    <a:pt x="449" y="966"/>
                    <a:pt x="238" y="1386"/>
                    <a:pt x="203" y="1846"/>
                  </a:cubicBezTo>
                  <a:cubicBezTo>
                    <a:pt x="200" y="1901"/>
                    <a:pt x="151" y="1942"/>
                    <a:pt x="96" y="1938"/>
                  </a:cubicBezTo>
                  <a:cubicBezTo>
                    <a:pt x="41" y="1934"/>
                    <a:pt x="0" y="1886"/>
                    <a:pt x="5" y="1831"/>
                  </a:cubicBezTo>
                  <a:cubicBezTo>
                    <a:pt x="43" y="1319"/>
                    <a:pt x="278" y="850"/>
                    <a:pt x="665" y="512"/>
                  </a:cubicBezTo>
                  <a:cubicBezTo>
                    <a:pt x="1056" y="170"/>
                    <a:pt x="1558" y="0"/>
                    <a:pt x="2077" y="35"/>
                  </a:cubicBezTo>
                  <a:cubicBezTo>
                    <a:pt x="2596" y="70"/>
                    <a:pt x="3071" y="305"/>
                    <a:pt x="3412" y="697"/>
                  </a:cubicBezTo>
                  <a:cubicBezTo>
                    <a:pt x="3719" y="1047"/>
                    <a:pt x="3890" y="1496"/>
                    <a:pt x="3894" y="1961"/>
                  </a:cubicBezTo>
                  <a:cubicBezTo>
                    <a:pt x="3894" y="2016"/>
                    <a:pt x="3850" y="2062"/>
                    <a:pt x="3795" y="2062"/>
                  </a:cubicBezTo>
                  <a:lnTo>
                    <a:pt x="3794" y="2062"/>
                  </a:lnTo>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6" name="Freeform 441">
              <a:extLst>
                <a:ext uri="{FF2B5EF4-FFF2-40B4-BE49-F238E27FC236}">
                  <a16:creationId xmlns:a16="http://schemas.microsoft.com/office/drawing/2014/main" id="{6505A557-45AD-425B-B6AA-F90EB66322FA}"/>
                </a:ext>
              </a:extLst>
            </p:cNvPr>
            <p:cNvSpPr>
              <a:spLocks/>
            </p:cNvSpPr>
            <p:nvPr/>
          </p:nvSpPr>
          <p:spPr bwMode="auto">
            <a:xfrm>
              <a:off x="7567724" y="2816336"/>
              <a:ext cx="22499" cy="59060"/>
            </a:xfrm>
            <a:custGeom>
              <a:avLst/>
              <a:gdLst>
                <a:gd name="T0" fmla="*/ 162 w 350"/>
                <a:gd name="T1" fmla="*/ 898 h 898"/>
                <a:gd name="T2" fmla="*/ 128 w 350"/>
                <a:gd name="T3" fmla="*/ 804 h 898"/>
                <a:gd name="T4" fmla="*/ 3 w 350"/>
                <a:gd name="T5" fmla="*/ 100 h 898"/>
                <a:gd name="T6" fmla="*/ 4 w 350"/>
                <a:gd name="T7" fmla="*/ 0 h 898"/>
                <a:gd name="T8" fmla="*/ 204 w 350"/>
                <a:gd name="T9" fmla="*/ 2 h 898"/>
                <a:gd name="T10" fmla="*/ 203 w 350"/>
                <a:gd name="T11" fmla="*/ 102 h 898"/>
                <a:gd name="T12" fmla="*/ 314 w 350"/>
                <a:gd name="T13" fmla="*/ 734 h 898"/>
                <a:gd name="T14" fmla="*/ 350 w 350"/>
                <a:gd name="T15" fmla="*/ 827 h 898"/>
                <a:gd name="T16" fmla="*/ 162 w 350"/>
                <a:gd name="T17" fmla="*/ 898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 h="898">
                  <a:moveTo>
                    <a:pt x="162" y="898"/>
                  </a:moveTo>
                  <a:lnTo>
                    <a:pt x="128" y="804"/>
                  </a:lnTo>
                  <a:cubicBezTo>
                    <a:pt x="42" y="579"/>
                    <a:pt x="0" y="342"/>
                    <a:pt x="3" y="100"/>
                  </a:cubicBezTo>
                  <a:lnTo>
                    <a:pt x="4" y="0"/>
                  </a:lnTo>
                  <a:lnTo>
                    <a:pt x="204" y="2"/>
                  </a:lnTo>
                  <a:lnTo>
                    <a:pt x="203" y="102"/>
                  </a:lnTo>
                  <a:cubicBezTo>
                    <a:pt x="201" y="319"/>
                    <a:pt x="238" y="532"/>
                    <a:pt x="314" y="734"/>
                  </a:cubicBezTo>
                  <a:lnTo>
                    <a:pt x="350" y="827"/>
                  </a:lnTo>
                  <a:lnTo>
                    <a:pt x="162" y="898"/>
                  </a:lnTo>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7" name="Freeform 442">
              <a:extLst>
                <a:ext uri="{FF2B5EF4-FFF2-40B4-BE49-F238E27FC236}">
                  <a16:creationId xmlns:a16="http://schemas.microsoft.com/office/drawing/2014/main" id="{353235AF-329B-4E31-BAB7-8FC427A83B16}"/>
                </a:ext>
              </a:extLst>
            </p:cNvPr>
            <p:cNvSpPr>
              <a:spLocks/>
            </p:cNvSpPr>
            <p:nvPr/>
          </p:nvSpPr>
          <p:spPr bwMode="auto">
            <a:xfrm>
              <a:off x="7407419" y="2852895"/>
              <a:ext cx="241862" cy="222177"/>
            </a:xfrm>
            <a:custGeom>
              <a:avLst/>
              <a:gdLst>
                <a:gd name="T0" fmla="*/ 966 w 3735"/>
                <a:gd name="T1" fmla="*/ 3456 h 3456"/>
                <a:gd name="T2" fmla="*/ 339 w 3735"/>
                <a:gd name="T3" fmla="*/ 3182 h 3456"/>
                <a:gd name="T4" fmla="*/ 41 w 3735"/>
                <a:gd name="T5" fmla="*/ 2465 h 3456"/>
                <a:gd name="T6" fmla="*/ 256 w 3735"/>
                <a:gd name="T7" fmla="*/ 2004 h 3456"/>
                <a:gd name="T8" fmla="*/ 283 w 3735"/>
                <a:gd name="T9" fmla="*/ 1966 h 3456"/>
                <a:gd name="T10" fmla="*/ 2454 w 3735"/>
                <a:gd name="T11" fmla="*/ 65 h 3456"/>
                <a:gd name="T12" fmla="*/ 2529 w 3735"/>
                <a:gd name="T13" fmla="*/ 0 h 3456"/>
                <a:gd name="T14" fmla="*/ 2659 w 3735"/>
                <a:gd name="T15" fmla="*/ 153 h 3456"/>
                <a:gd name="T16" fmla="*/ 2583 w 3735"/>
                <a:gd name="T17" fmla="*/ 217 h 3456"/>
                <a:gd name="T18" fmla="*/ 449 w 3735"/>
                <a:gd name="T19" fmla="*/ 2078 h 3456"/>
                <a:gd name="T20" fmla="*/ 418 w 3735"/>
                <a:gd name="T21" fmla="*/ 2121 h 3456"/>
                <a:gd name="T22" fmla="*/ 474 w 3735"/>
                <a:gd name="T23" fmla="*/ 3035 h 3456"/>
                <a:gd name="T24" fmla="*/ 1307 w 3735"/>
                <a:gd name="T25" fmla="*/ 3152 h 3456"/>
                <a:gd name="T26" fmla="*/ 1356 w 3735"/>
                <a:gd name="T27" fmla="*/ 2693 h 3456"/>
                <a:gd name="T28" fmla="*/ 1457 w 3735"/>
                <a:gd name="T29" fmla="*/ 2604 h 3456"/>
                <a:gd name="T30" fmla="*/ 1877 w 3735"/>
                <a:gd name="T31" fmla="*/ 2609 h 3456"/>
                <a:gd name="T32" fmla="*/ 1911 w 3735"/>
                <a:gd name="T33" fmla="*/ 2184 h 3456"/>
                <a:gd name="T34" fmla="*/ 2018 w 3735"/>
                <a:gd name="T35" fmla="*/ 2092 h 3456"/>
                <a:gd name="T36" fmla="*/ 2491 w 3735"/>
                <a:gd name="T37" fmla="*/ 2122 h 3456"/>
                <a:gd name="T38" fmla="*/ 2559 w 3735"/>
                <a:gd name="T39" fmla="*/ 1664 h 3456"/>
                <a:gd name="T40" fmla="*/ 2668 w 3735"/>
                <a:gd name="T41" fmla="*/ 1580 h 3456"/>
                <a:gd name="T42" fmla="*/ 3095 w 3735"/>
                <a:gd name="T43" fmla="*/ 1621 h 3456"/>
                <a:gd name="T44" fmla="*/ 3608 w 3735"/>
                <a:gd name="T45" fmla="*/ 1201 h 3456"/>
                <a:gd name="T46" fmla="*/ 3735 w 3735"/>
                <a:gd name="T47" fmla="*/ 1356 h 3456"/>
                <a:gd name="T48" fmla="*/ 3190 w 3735"/>
                <a:gd name="T49" fmla="*/ 1802 h 3456"/>
                <a:gd name="T50" fmla="*/ 3117 w 3735"/>
                <a:gd name="T51" fmla="*/ 1824 h 3456"/>
                <a:gd name="T52" fmla="*/ 2744 w 3735"/>
                <a:gd name="T53" fmla="*/ 1788 h 3456"/>
                <a:gd name="T54" fmla="*/ 2675 w 3735"/>
                <a:gd name="T55" fmla="*/ 2242 h 3456"/>
                <a:gd name="T56" fmla="*/ 2570 w 3735"/>
                <a:gd name="T57" fmla="*/ 2327 h 3456"/>
                <a:gd name="T58" fmla="*/ 2103 w 3735"/>
                <a:gd name="T59" fmla="*/ 2298 h 3456"/>
                <a:gd name="T60" fmla="*/ 2069 w 3735"/>
                <a:gd name="T61" fmla="*/ 2718 h 3456"/>
                <a:gd name="T62" fmla="*/ 1968 w 3735"/>
                <a:gd name="T63" fmla="*/ 2810 h 3456"/>
                <a:gd name="T64" fmla="*/ 1546 w 3735"/>
                <a:gd name="T65" fmla="*/ 2805 h 3456"/>
                <a:gd name="T66" fmla="*/ 1501 w 3735"/>
                <a:gd name="T67" fmla="*/ 3216 h 3456"/>
                <a:gd name="T68" fmla="*/ 1468 w 3735"/>
                <a:gd name="T69" fmla="*/ 3281 h 3456"/>
                <a:gd name="T70" fmla="*/ 966 w 3735"/>
                <a:gd name="T71" fmla="*/ 3456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35" h="3456">
                  <a:moveTo>
                    <a:pt x="966" y="3456"/>
                  </a:moveTo>
                  <a:cubicBezTo>
                    <a:pt x="784" y="3456"/>
                    <a:pt x="566" y="3391"/>
                    <a:pt x="339" y="3182"/>
                  </a:cubicBezTo>
                  <a:cubicBezTo>
                    <a:pt x="101" y="2963"/>
                    <a:pt x="0" y="2722"/>
                    <a:pt x="41" y="2465"/>
                  </a:cubicBezTo>
                  <a:cubicBezTo>
                    <a:pt x="74" y="2258"/>
                    <a:pt x="193" y="2093"/>
                    <a:pt x="256" y="2004"/>
                  </a:cubicBezTo>
                  <a:cubicBezTo>
                    <a:pt x="267" y="1989"/>
                    <a:pt x="276" y="1977"/>
                    <a:pt x="283" y="1966"/>
                  </a:cubicBezTo>
                  <a:cubicBezTo>
                    <a:pt x="378" y="1823"/>
                    <a:pt x="2107" y="357"/>
                    <a:pt x="2454" y="65"/>
                  </a:cubicBezTo>
                  <a:lnTo>
                    <a:pt x="2529" y="0"/>
                  </a:lnTo>
                  <a:lnTo>
                    <a:pt x="2659" y="153"/>
                  </a:lnTo>
                  <a:lnTo>
                    <a:pt x="2583" y="217"/>
                  </a:lnTo>
                  <a:cubicBezTo>
                    <a:pt x="1801" y="878"/>
                    <a:pt x="531" y="1968"/>
                    <a:pt x="449" y="2078"/>
                  </a:cubicBezTo>
                  <a:cubicBezTo>
                    <a:pt x="442" y="2089"/>
                    <a:pt x="431" y="2104"/>
                    <a:pt x="418" y="2121"/>
                  </a:cubicBezTo>
                  <a:cubicBezTo>
                    <a:pt x="225" y="2391"/>
                    <a:pt x="97" y="2689"/>
                    <a:pt x="474" y="3035"/>
                  </a:cubicBezTo>
                  <a:cubicBezTo>
                    <a:pt x="871" y="3399"/>
                    <a:pt x="1207" y="3220"/>
                    <a:pt x="1307" y="3152"/>
                  </a:cubicBezTo>
                  <a:lnTo>
                    <a:pt x="1356" y="2693"/>
                  </a:lnTo>
                  <a:lnTo>
                    <a:pt x="1457" y="2604"/>
                  </a:lnTo>
                  <a:lnTo>
                    <a:pt x="1877" y="2609"/>
                  </a:lnTo>
                  <a:lnTo>
                    <a:pt x="1911" y="2184"/>
                  </a:lnTo>
                  <a:lnTo>
                    <a:pt x="2018" y="2092"/>
                  </a:lnTo>
                  <a:lnTo>
                    <a:pt x="2491" y="2122"/>
                  </a:lnTo>
                  <a:lnTo>
                    <a:pt x="2559" y="1664"/>
                  </a:lnTo>
                  <a:lnTo>
                    <a:pt x="2668" y="1580"/>
                  </a:lnTo>
                  <a:lnTo>
                    <a:pt x="3095" y="1621"/>
                  </a:lnTo>
                  <a:lnTo>
                    <a:pt x="3608" y="1201"/>
                  </a:lnTo>
                  <a:lnTo>
                    <a:pt x="3735" y="1356"/>
                  </a:lnTo>
                  <a:lnTo>
                    <a:pt x="3190" y="1802"/>
                  </a:lnTo>
                  <a:lnTo>
                    <a:pt x="3117" y="1824"/>
                  </a:lnTo>
                  <a:lnTo>
                    <a:pt x="2744" y="1788"/>
                  </a:lnTo>
                  <a:lnTo>
                    <a:pt x="2675" y="2242"/>
                  </a:lnTo>
                  <a:lnTo>
                    <a:pt x="2570" y="2327"/>
                  </a:lnTo>
                  <a:lnTo>
                    <a:pt x="2103" y="2298"/>
                  </a:lnTo>
                  <a:lnTo>
                    <a:pt x="2069" y="2718"/>
                  </a:lnTo>
                  <a:lnTo>
                    <a:pt x="1968" y="2810"/>
                  </a:lnTo>
                  <a:lnTo>
                    <a:pt x="1546" y="2805"/>
                  </a:lnTo>
                  <a:lnTo>
                    <a:pt x="1501" y="3216"/>
                  </a:lnTo>
                  <a:lnTo>
                    <a:pt x="1468" y="3281"/>
                  </a:lnTo>
                  <a:cubicBezTo>
                    <a:pt x="1464" y="3284"/>
                    <a:pt x="1262" y="3456"/>
                    <a:pt x="966" y="3456"/>
                  </a:cubicBezTo>
                  <a:close/>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8" name="Freeform 443">
              <a:extLst>
                <a:ext uri="{FF2B5EF4-FFF2-40B4-BE49-F238E27FC236}">
                  <a16:creationId xmlns:a16="http://schemas.microsoft.com/office/drawing/2014/main" id="{D2486233-92CD-43AE-8BFD-6D8C910CD71F}"/>
                </a:ext>
              </a:extLst>
            </p:cNvPr>
            <p:cNvSpPr>
              <a:spLocks/>
            </p:cNvSpPr>
            <p:nvPr/>
          </p:nvSpPr>
          <p:spPr bwMode="auto">
            <a:xfrm>
              <a:off x="7632408" y="2881019"/>
              <a:ext cx="109683" cy="28124"/>
            </a:xfrm>
            <a:custGeom>
              <a:avLst/>
              <a:gdLst>
                <a:gd name="T0" fmla="*/ 951 w 1720"/>
                <a:gd name="T1" fmla="*/ 446 h 446"/>
                <a:gd name="T2" fmla="*/ 86 w 1720"/>
                <a:gd name="T3" fmla="*/ 223 h 446"/>
                <a:gd name="T4" fmla="*/ 0 w 1720"/>
                <a:gd name="T5" fmla="*/ 172 h 446"/>
                <a:gd name="T6" fmla="*/ 102 w 1720"/>
                <a:gd name="T7" fmla="*/ 0 h 446"/>
                <a:gd name="T8" fmla="*/ 188 w 1720"/>
                <a:gd name="T9" fmla="*/ 51 h 446"/>
                <a:gd name="T10" fmla="*/ 1542 w 1720"/>
                <a:gd name="T11" fmla="*/ 110 h 446"/>
                <a:gd name="T12" fmla="*/ 1632 w 1720"/>
                <a:gd name="T13" fmla="*/ 66 h 446"/>
                <a:gd name="T14" fmla="*/ 1720 w 1720"/>
                <a:gd name="T15" fmla="*/ 246 h 446"/>
                <a:gd name="T16" fmla="*/ 1630 w 1720"/>
                <a:gd name="T17" fmla="*/ 290 h 446"/>
                <a:gd name="T18" fmla="*/ 951 w 1720"/>
                <a:gd name="T19"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0" h="446">
                  <a:moveTo>
                    <a:pt x="951" y="446"/>
                  </a:moveTo>
                  <a:cubicBezTo>
                    <a:pt x="472" y="446"/>
                    <a:pt x="107" y="236"/>
                    <a:pt x="86" y="223"/>
                  </a:cubicBezTo>
                  <a:lnTo>
                    <a:pt x="0" y="172"/>
                  </a:lnTo>
                  <a:lnTo>
                    <a:pt x="102" y="0"/>
                  </a:lnTo>
                  <a:lnTo>
                    <a:pt x="188" y="51"/>
                  </a:lnTo>
                  <a:cubicBezTo>
                    <a:pt x="194" y="54"/>
                    <a:pt x="867" y="441"/>
                    <a:pt x="1542" y="110"/>
                  </a:cubicBezTo>
                  <a:lnTo>
                    <a:pt x="1632" y="66"/>
                  </a:lnTo>
                  <a:lnTo>
                    <a:pt x="1720" y="246"/>
                  </a:lnTo>
                  <a:lnTo>
                    <a:pt x="1630" y="290"/>
                  </a:lnTo>
                  <a:cubicBezTo>
                    <a:pt x="1395" y="405"/>
                    <a:pt x="1161" y="446"/>
                    <a:pt x="951" y="446"/>
                  </a:cubicBezTo>
                  <a:close/>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19" name="Freeform 444">
              <a:extLst>
                <a:ext uri="{FF2B5EF4-FFF2-40B4-BE49-F238E27FC236}">
                  <a16:creationId xmlns:a16="http://schemas.microsoft.com/office/drawing/2014/main" id="{D8C1A18D-D32A-418D-BAB7-49CCE687AE03}"/>
                </a:ext>
              </a:extLst>
            </p:cNvPr>
            <p:cNvSpPr>
              <a:spLocks/>
            </p:cNvSpPr>
            <p:nvPr/>
          </p:nvSpPr>
          <p:spPr bwMode="auto">
            <a:xfrm>
              <a:off x="7750526" y="2866958"/>
              <a:ext cx="19687" cy="16874"/>
            </a:xfrm>
            <a:custGeom>
              <a:avLst/>
              <a:gdLst>
                <a:gd name="T0" fmla="*/ 139 w 304"/>
                <a:gd name="T1" fmla="*/ 282 h 282"/>
                <a:gd name="T2" fmla="*/ 0 w 304"/>
                <a:gd name="T3" fmla="*/ 137 h 282"/>
                <a:gd name="T4" fmla="*/ 73 w 304"/>
                <a:gd name="T5" fmla="*/ 68 h 282"/>
                <a:gd name="T6" fmla="*/ 121 w 304"/>
                <a:gd name="T7" fmla="*/ 40 h 282"/>
                <a:gd name="T8" fmla="*/ 159 w 304"/>
                <a:gd name="T9" fmla="*/ 0 h 282"/>
                <a:gd name="T10" fmla="*/ 304 w 304"/>
                <a:gd name="T11" fmla="*/ 138 h 282"/>
                <a:gd name="T12" fmla="*/ 234 w 304"/>
                <a:gd name="T13" fmla="*/ 210 h 282"/>
                <a:gd name="T14" fmla="*/ 178 w 304"/>
                <a:gd name="T15" fmla="*/ 244 h 282"/>
                <a:gd name="T16" fmla="*/ 139 w 304"/>
                <a:gd name="T17"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4" h="282">
                  <a:moveTo>
                    <a:pt x="139" y="282"/>
                  </a:moveTo>
                  <a:lnTo>
                    <a:pt x="0" y="137"/>
                  </a:lnTo>
                  <a:lnTo>
                    <a:pt x="73" y="68"/>
                  </a:lnTo>
                  <a:cubicBezTo>
                    <a:pt x="89" y="53"/>
                    <a:pt x="105" y="44"/>
                    <a:pt x="121" y="40"/>
                  </a:cubicBezTo>
                  <a:lnTo>
                    <a:pt x="159" y="0"/>
                  </a:lnTo>
                  <a:lnTo>
                    <a:pt x="304" y="138"/>
                  </a:lnTo>
                  <a:lnTo>
                    <a:pt x="234" y="210"/>
                  </a:lnTo>
                  <a:cubicBezTo>
                    <a:pt x="215" y="230"/>
                    <a:pt x="196" y="240"/>
                    <a:pt x="178" y="244"/>
                  </a:cubicBezTo>
                  <a:lnTo>
                    <a:pt x="139" y="282"/>
                  </a:lnTo>
                  <a:close/>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20" name="Freeform 445">
              <a:extLst>
                <a:ext uri="{FF2B5EF4-FFF2-40B4-BE49-F238E27FC236}">
                  <a16:creationId xmlns:a16="http://schemas.microsoft.com/office/drawing/2014/main" id="{1DA1B73E-6D15-4F2A-BA50-55C430F6F0EF}"/>
                </a:ext>
              </a:extLst>
            </p:cNvPr>
            <p:cNvSpPr>
              <a:spLocks noEditPoints="1"/>
            </p:cNvSpPr>
            <p:nvPr/>
          </p:nvSpPr>
          <p:spPr bwMode="auto">
            <a:xfrm>
              <a:off x="7683030" y="2754464"/>
              <a:ext cx="92809" cy="87184"/>
            </a:xfrm>
            <a:custGeom>
              <a:avLst/>
              <a:gdLst>
                <a:gd name="T0" fmla="*/ 671 w 1410"/>
                <a:gd name="T1" fmla="*/ 200 h 1323"/>
                <a:gd name="T2" fmla="*/ 368 w 1410"/>
                <a:gd name="T3" fmla="*/ 314 h 1323"/>
                <a:gd name="T4" fmla="*/ 212 w 1410"/>
                <a:gd name="T5" fmla="*/ 630 h 1323"/>
                <a:gd name="T6" fmla="*/ 325 w 1410"/>
                <a:gd name="T7" fmla="*/ 965 h 1323"/>
                <a:gd name="T8" fmla="*/ 672 w 1410"/>
                <a:gd name="T9" fmla="*/ 1123 h 1323"/>
                <a:gd name="T10" fmla="*/ 976 w 1410"/>
                <a:gd name="T11" fmla="*/ 1009 h 1323"/>
                <a:gd name="T12" fmla="*/ 1019 w 1410"/>
                <a:gd name="T13" fmla="*/ 358 h 1323"/>
                <a:gd name="T14" fmla="*/ 671 w 1410"/>
                <a:gd name="T15" fmla="*/ 200 h 1323"/>
                <a:gd name="T16" fmla="*/ 672 w 1410"/>
                <a:gd name="T17" fmla="*/ 1323 h 1323"/>
                <a:gd name="T18" fmla="*/ 174 w 1410"/>
                <a:gd name="T19" fmla="*/ 1096 h 1323"/>
                <a:gd name="T20" fmla="*/ 12 w 1410"/>
                <a:gd name="T21" fmla="*/ 617 h 1323"/>
                <a:gd name="T22" fmla="*/ 237 w 1410"/>
                <a:gd name="T23" fmla="*/ 163 h 1323"/>
                <a:gd name="T24" fmla="*/ 671 w 1410"/>
                <a:gd name="T25" fmla="*/ 0 h 1323"/>
                <a:gd name="T26" fmla="*/ 1170 w 1410"/>
                <a:gd name="T27" fmla="*/ 226 h 1323"/>
                <a:gd name="T28" fmla="*/ 1107 w 1410"/>
                <a:gd name="T29" fmla="*/ 1159 h 1323"/>
                <a:gd name="T30" fmla="*/ 672 w 1410"/>
                <a:gd name="T31" fmla="*/ 1323 h 1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0" h="1323">
                  <a:moveTo>
                    <a:pt x="671" y="200"/>
                  </a:moveTo>
                  <a:cubicBezTo>
                    <a:pt x="560" y="200"/>
                    <a:pt x="453" y="241"/>
                    <a:pt x="368" y="314"/>
                  </a:cubicBezTo>
                  <a:cubicBezTo>
                    <a:pt x="276" y="395"/>
                    <a:pt x="220" y="507"/>
                    <a:pt x="212" y="630"/>
                  </a:cubicBezTo>
                  <a:cubicBezTo>
                    <a:pt x="203" y="753"/>
                    <a:pt x="244" y="872"/>
                    <a:pt x="325" y="965"/>
                  </a:cubicBezTo>
                  <a:cubicBezTo>
                    <a:pt x="412" y="1065"/>
                    <a:pt x="539" y="1123"/>
                    <a:pt x="672" y="1123"/>
                  </a:cubicBezTo>
                  <a:cubicBezTo>
                    <a:pt x="784" y="1123"/>
                    <a:pt x="891" y="1082"/>
                    <a:pt x="976" y="1009"/>
                  </a:cubicBezTo>
                  <a:cubicBezTo>
                    <a:pt x="1167" y="841"/>
                    <a:pt x="1187" y="549"/>
                    <a:pt x="1019" y="358"/>
                  </a:cubicBezTo>
                  <a:cubicBezTo>
                    <a:pt x="932" y="258"/>
                    <a:pt x="805" y="200"/>
                    <a:pt x="671" y="200"/>
                  </a:cubicBezTo>
                  <a:close/>
                  <a:moveTo>
                    <a:pt x="672" y="1323"/>
                  </a:moveTo>
                  <a:cubicBezTo>
                    <a:pt x="481" y="1323"/>
                    <a:pt x="299" y="1240"/>
                    <a:pt x="174" y="1096"/>
                  </a:cubicBezTo>
                  <a:cubicBezTo>
                    <a:pt x="58" y="963"/>
                    <a:pt x="0" y="793"/>
                    <a:pt x="12" y="617"/>
                  </a:cubicBezTo>
                  <a:cubicBezTo>
                    <a:pt x="24" y="441"/>
                    <a:pt x="104" y="280"/>
                    <a:pt x="237" y="163"/>
                  </a:cubicBezTo>
                  <a:cubicBezTo>
                    <a:pt x="357" y="58"/>
                    <a:pt x="512" y="0"/>
                    <a:pt x="671" y="0"/>
                  </a:cubicBezTo>
                  <a:cubicBezTo>
                    <a:pt x="862" y="0"/>
                    <a:pt x="1044" y="83"/>
                    <a:pt x="1170" y="226"/>
                  </a:cubicBezTo>
                  <a:cubicBezTo>
                    <a:pt x="1410" y="501"/>
                    <a:pt x="1381" y="919"/>
                    <a:pt x="1107" y="1159"/>
                  </a:cubicBezTo>
                  <a:cubicBezTo>
                    <a:pt x="987" y="1265"/>
                    <a:pt x="832" y="1323"/>
                    <a:pt x="672" y="1323"/>
                  </a:cubicBezTo>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21" name="Freeform 446">
              <a:extLst>
                <a:ext uri="{FF2B5EF4-FFF2-40B4-BE49-F238E27FC236}">
                  <a16:creationId xmlns:a16="http://schemas.microsoft.com/office/drawing/2014/main" id="{FB6634D5-B29B-409F-8BA9-E7CD5EF70437}"/>
                </a:ext>
              </a:extLst>
            </p:cNvPr>
            <p:cNvSpPr>
              <a:spLocks/>
            </p:cNvSpPr>
            <p:nvPr/>
          </p:nvSpPr>
          <p:spPr bwMode="auto">
            <a:xfrm>
              <a:off x="7441168" y="2982263"/>
              <a:ext cx="50622" cy="44998"/>
            </a:xfrm>
            <a:custGeom>
              <a:avLst/>
              <a:gdLst>
                <a:gd name="T0" fmla="*/ 3 w 18"/>
                <a:gd name="T1" fmla="*/ 16 h 16"/>
                <a:gd name="T2" fmla="*/ 0 w 18"/>
                <a:gd name="T3" fmla="*/ 12 h 16"/>
                <a:gd name="T4" fmla="*/ 15 w 18"/>
                <a:gd name="T5" fmla="*/ 0 h 16"/>
                <a:gd name="T6" fmla="*/ 18 w 18"/>
                <a:gd name="T7" fmla="*/ 3 h 16"/>
                <a:gd name="T8" fmla="*/ 3 w 18"/>
                <a:gd name="T9" fmla="*/ 16 h 16"/>
              </a:gdLst>
              <a:ahLst/>
              <a:cxnLst>
                <a:cxn ang="0">
                  <a:pos x="T0" y="T1"/>
                </a:cxn>
                <a:cxn ang="0">
                  <a:pos x="T2" y="T3"/>
                </a:cxn>
                <a:cxn ang="0">
                  <a:pos x="T4" y="T5"/>
                </a:cxn>
                <a:cxn ang="0">
                  <a:pos x="T6" y="T7"/>
                </a:cxn>
                <a:cxn ang="0">
                  <a:pos x="T8" y="T9"/>
                </a:cxn>
              </a:cxnLst>
              <a:rect l="0" t="0" r="r" b="b"/>
              <a:pathLst>
                <a:path w="18" h="16">
                  <a:moveTo>
                    <a:pt x="3" y="16"/>
                  </a:moveTo>
                  <a:lnTo>
                    <a:pt x="0" y="12"/>
                  </a:lnTo>
                  <a:lnTo>
                    <a:pt x="15" y="0"/>
                  </a:lnTo>
                  <a:lnTo>
                    <a:pt x="18" y="3"/>
                  </a:lnTo>
                  <a:lnTo>
                    <a:pt x="3" y="16"/>
                  </a:lnTo>
                  <a:close/>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sp>
          <p:nvSpPr>
            <p:cNvPr id="22" name="Freeform 447">
              <a:extLst>
                <a:ext uri="{FF2B5EF4-FFF2-40B4-BE49-F238E27FC236}">
                  <a16:creationId xmlns:a16="http://schemas.microsoft.com/office/drawing/2014/main" id="{783AF95E-63B3-4EA4-958A-1FC270212BEC}"/>
                </a:ext>
              </a:extLst>
            </p:cNvPr>
            <p:cNvSpPr>
              <a:spLocks/>
            </p:cNvSpPr>
            <p:nvPr/>
          </p:nvSpPr>
          <p:spPr bwMode="auto">
            <a:xfrm>
              <a:off x="7503039" y="2883832"/>
              <a:ext cx="95620" cy="89995"/>
            </a:xfrm>
            <a:custGeom>
              <a:avLst/>
              <a:gdLst>
                <a:gd name="T0" fmla="*/ 3 w 34"/>
                <a:gd name="T1" fmla="*/ 32 h 32"/>
                <a:gd name="T2" fmla="*/ 0 w 34"/>
                <a:gd name="T3" fmla="*/ 28 h 32"/>
                <a:gd name="T4" fmla="*/ 31 w 34"/>
                <a:gd name="T5" fmla="*/ 0 h 32"/>
                <a:gd name="T6" fmla="*/ 34 w 34"/>
                <a:gd name="T7" fmla="*/ 4 h 32"/>
                <a:gd name="T8" fmla="*/ 3 w 34"/>
                <a:gd name="T9" fmla="*/ 32 h 32"/>
              </a:gdLst>
              <a:ahLst/>
              <a:cxnLst>
                <a:cxn ang="0">
                  <a:pos x="T0" y="T1"/>
                </a:cxn>
                <a:cxn ang="0">
                  <a:pos x="T2" y="T3"/>
                </a:cxn>
                <a:cxn ang="0">
                  <a:pos x="T4" y="T5"/>
                </a:cxn>
                <a:cxn ang="0">
                  <a:pos x="T6" y="T7"/>
                </a:cxn>
                <a:cxn ang="0">
                  <a:pos x="T8" y="T9"/>
                </a:cxn>
              </a:cxnLst>
              <a:rect l="0" t="0" r="r" b="b"/>
              <a:pathLst>
                <a:path w="34" h="32">
                  <a:moveTo>
                    <a:pt x="3" y="32"/>
                  </a:moveTo>
                  <a:lnTo>
                    <a:pt x="0" y="28"/>
                  </a:lnTo>
                  <a:lnTo>
                    <a:pt x="31" y="0"/>
                  </a:lnTo>
                  <a:lnTo>
                    <a:pt x="34" y="4"/>
                  </a:lnTo>
                  <a:lnTo>
                    <a:pt x="3" y="32"/>
                  </a:lnTo>
                  <a:close/>
                </a:path>
              </a:pathLst>
            </a:custGeom>
            <a:solidFill>
              <a:schemeClr val="accent1"/>
            </a:solidFill>
            <a:ln w="38100">
              <a:solidFill>
                <a:srgbClr val="7030A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chemeClr val="tx1">
                    <a:lumMod val="85000"/>
                    <a:lumOff val="15000"/>
                  </a:schemeClr>
                </a:solidFill>
                <a:effectLst/>
                <a:uLnTx/>
                <a:uFillTx/>
                <a:latin typeface="Calibri" panose="020F0502020204030204"/>
                <a:ea typeface="+mn-ea"/>
                <a:cs typeface="+mn-cs"/>
              </a:endParaRPr>
            </a:p>
          </p:txBody>
        </p:sp>
      </p:grpSp>
      <p:sp>
        <p:nvSpPr>
          <p:cNvPr id="23" name="TextBox 22">
            <a:extLst>
              <a:ext uri="{FF2B5EF4-FFF2-40B4-BE49-F238E27FC236}">
                <a16:creationId xmlns:a16="http://schemas.microsoft.com/office/drawing/2014/main" id="{3B13800F-098E-4768-B966-F4BBD93D9CD0}"/>
              </a:ext>
            </a:extLst>
          </p:cNvPr>
          <p:cNvSpPr txBox="1"/>
          <p:nvPr/>
        </p:nvSpPr>
        <p:spPr>
          <a:xfrm>
            <a:off x="3003340" y="627942"/>
            <a:ext cx="2257349" cy="584775"/>
          </a:xfrm>
          <a:prstGeom prst="rect">
            <a:avLst/>
          </a:prstGeom>
          <a:noFill/>
        </p:spPr>
        <p:txBody>
          <a:bodyPr wrap="none" rtlCol="0">
            <a:spAutoFit/>
          </a:bodyPr>
          <a:lstStyle/>
          <a:p>
            <a:r>
              <a:rPr lang="en-US" sz="3200">
                <a:solidFill>
                  <a:schemeClr val="tx1">
                    <a:lumMod val="85000"/>
                    <a:lumOff val="15000"/>
                  </a:schemeClr>
                </a:solidFill>
              </a:rPr>
              <a:t>Khóa ngoài</a:t>
            </a:r>
            <a:endParaRPr lang="vi-VN" sz="3200">
              <a:solidFill>
                <a:schemeClr val="tx1">
                  <a:lumMod val="85000"/>
                  <a:lumOff val="15000"/>
                </a:schemeClr>
              </a:solidFill>
            </a:endParaRPr>
          </a:p>
        </p:txBody>
      </p:sp>
      <p:pic>
        <p:nvPicPr>
          <p:cNvPr id="4" name="Picture 3" descr="A screenshot of a computer&#10;&#10;Description automatically generated">
            <a:extLst>
              <a:ext uri="{FF2B5EF4-FFF2-40B4-BE49-F238E27FC236}">
                <a16:creationId xmlns:a16="http://schemas.microsoft.com/office/drawing/2014/main" id="{C92E2997-D634-4BE4-850A-C810B854B12F}"/>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549458" y="2992650"/>
            <a:ext cx="8057427" cy="3666130"/>
          </a:xfrm>
          <a:prstGeom prst="rect">
            <a:avLst/>
          </a:prstGeom>
        </p:spPr>
      </p:pic>
      <p:sp>
        <p:nvSpPr>
          <p:cNvPr id="5" name="TextBox 4">
            <a:extLst>
              <a:ext uri="{FF2B5EF4-FFF2-40B4-BE49-F238E27FC236}">
                <a16:creationId xmlns:a16="http://schemas.microsoft.com/office/drawing/2014/main" id="{07A603DB-589D-455D-8EA1-DE1272815252}"/>
              </a:ext>
            </a:extLst>
          </p:cNvPr>
          <p:cNvSpPr txBox="1"/>
          <p:nvPr/>
        </p:nvSpPr>
        <p:spPr>
          <a:xfrm flipH="1">
            <a:off x="2290239" y="1397865"/>
            <a:ext cx="8575867" cy="1200329"/>
          </a:xfrm>
          <a:prstGeom prst="rect">
            <a:avLst/>
          </a:prstGeom>
          <a:noFill/>
        </p:spPr>
        <p:txBody>
          <a:bodyPr wrap="square" rtlCol="0">
            <a:spAutoFit/>
          </a:bodyPr>
          <a:lstStyle/>
          <a:p>
            <a:pPr marL="342900" indent="-342900">
              <a:buFont typeface="Wingdings" panose="05000000000000000000" pitchFamily="2" charset="2"/>
              <a:buChar char="§"/>
            </a:pPr>
            <a:r>
              <a:rPr lang="en-US" sz="2400"/>
              <a:t>Tr</a:t>
            </a:r>
            <a:r>
              <a:rPr lang="vi-VN" sz="2400"/>
              <a:t>ư</a:t>
            </a:r>
            <a:r>
              <a:rPr lang="en-US" sz="2400"/>
              <a:t>ờng hay nhóm các tr</a:t>
            </a:r>
            <a:r>
              <a:rPr lang="vi-VN" sz="2400"/>
              <a:t>ư</a:t>
            </a:r>
            <a:r>
              <a:rPr lang="en-US" sz="2400"/>
              <a:t>ờng ở bảng này làm thành khóa chính ở một bảng khác đ</a:t>
            </a:r>
            <a:r>
              <a:rPr lang="vi-VN" sz="2400"/>
              <a:t>ư</a:t>
            </a:r>
            <a:r>
              <a:rPr lang="en-US" sz="2400"/>
              <a:t>ợc gọi là </a:t>
            </a:r>
            <a:r>
              <a:rPr lang="en-US" sz="2400">
                <a:solidFill>
                  <a:schemeClr val="accent5">
                    <a:lumMod val="75000"/>
                  </a:schemeClr>
                </a:solidFill>
              </a:rPr>
              <a:t>khóa ngoài</a:t>
            </a:r>
          </a:p>
          <a:p>
            <a:pPr marL="342900" indent="-342900">
              <a:buFont typeface="Wingdings" panose="05000000000000000000" pitchFamily="2" charset="2"/>
              <a:buChar char="§"/>
            </a:pPr>
            <a:r>
              <a:rPr lang="en-US" sz="2400">
                <a:solidFill>
                  <a:schemeClr val="accent5">
                    <a:lumMod val="75000"/>
                  </a:schemeClr>
                </a:solidFill>
              </a:rPr>
              <a:t>Hai bảng lúc đó gọi là có quan hệ với nhau qua khóa ngoài</a:t>
            </a:r>
            <a:endParaRPr lang="vi-VN" sz="2400">
              <a:solidFill>
                <a:schemeClr val="accent5">
                  <a:lumMod val="75000"/>
                </a:schemeClr>
              </a:solidFill>
            </a:endParaRPr>
          </a:p>
        </p:txBody>
      </p:sp>
    </p:spTree>
    <p:extLst>
      <p:ext uri="{BB962C8B-B14F-4D97-AF65-F5344CB8AC3E}">
        <p14:creationId xmlns:p14="http://schemas.microsoft.com/office/powerpoint/2010/main" val="130319599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TAGS_ICONS" val="confrontation*hands*fists*fighting*feud*enemies*enemy*adversaries*resistance*collabora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confrontation*hands*fists*fighting*feud*enemies*enemy*adversaries*resistance*collaboration"/>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confrontation*hands*fists*fighting*feud*enemies*enemy*adversaries*resistance*collaboration"/>
</p:tagLst>
</file>

<file path=ppt/theme/theme1.xml><?xml version="1.0" encoding="utf-8"?>
<a:theme xmlns:a="http://schemas.openxmlformats.org/drawingml/2006/main" name="1_FunkyShapesVTI">
  <a:themeElements>
    <a:clrScheme name="Custom 15">
      <a:dk1>
        <a:sysClr val="windowText" lastClr="000000"/>
      </a:dk1>
      <a:lt1>
        <a:sysClr val="window" lastClr="FFFFFF"/>
      </a:lt1>
      <a:dk2>
        <a:srgbClr val="2D2D2D"/>
      </a:dk2>
      <a:lt2>
        <a:srgbClr val="F3FFF8"/>
      </a:lt2>
      <a:accent1>
        <a:srgbClr val="FF80BD"/>
      </a:accent1>
      <a:accent2>
        <a:srgbClr val="1EB9D3"/>
      </a:accent2>
      <a:accent3>
        <a:srgbClr val="21C46B"/>
      </a:accent3>
      <a:accent4>
        <a:srgbClr val="EA9600"/>
      </a:accent4>
      <a:accent5>
        <a:srgbClr val="F43B56"/>
      </a:accent5>
      <a:accent6>
        <a:srgbClr val="4B56E8"/>
      </a:accent6>
      <a:hlink>
        <a:srgbClr val="8F61FF"/>
      </a:hlink>
      <a:folHlink>
        <a:srgbClr val="F900A0"/>
      </a:folHlink>
    </a:clrScheme>
    <a:fontScheme name="Custom 7">
      <a:majorFont>
        <a:latin typeface="Source Sans Pro "/>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unkyShapesVTI" id="{A7F40C41-3FB2-45B0-B0D6-DFB7FDD9B7AD}" vid="{C49381A0-09CD-46EE-B141-E2CDD87ABF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Image xmlns="71af3243-3dd4-4a8d-8c0d-dd76da1f02a5">
      <Url xsi:nil="true"/>
      <Description xsi:nil="true"/>
    </Image>
    <Status xmlns="71af3243-3dd4-4a8d-8c0d-dd76da1f02a5">Not started</Status>
    <_ip_UnifiedCompliancePolicyProperties xmlns="http://schemas.microsoft.com/sharepoint/v3" xsi:nil="true"/>
    <lcf76f155ced4ddcb4097134ff3c332f xmlns="71af3243-3dd4-4a8d-8c0d-dd76da1f02a5">
      <Terms xmlns="http://schemas.microsoft.com/office/infopath/2007/PartnerControls"/>
    </lcf76f155ced4ddcb4097134ff3c332f>
    <TaxCatchAll xmlns="230e9df3-be65-4c73-a93b-d1236ebd677e"/>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8" ma:contentTypeDescription="Create a new document." ma:contentTypeScope="" ma:versionID="22a266b9fa9a230c5a512669d8b298c3">
  <xsd:schema xmlns:xsd="http://www.w3.org/2001/XMLSchema" xmlns:xs="http://www.w3.org/2001/XMLSchema" xmlns:p="http://schemas.microsoft.com/office/2006/metadata/properties" xmlns:ns1="http://schemas.microsoft.com/sharepoint/v3" xmlns:ns2="71af3243-3dd4-4a8d-8c0d-dd76da1f02a5" xmlns:ns3="16c05727-aa75-4e4a-9b5f-8a80a1165891" xmlns:ns4="230e9df3-be65-4c73-a93b-d1236ebd677e" targetNamespace="http://schemas.microsoft.com/office/2006/metadata/properties" ma:root="true" ma:fieldsID="eddc33fff6b14141ee5c74a0d29ea6a1" ns1:_="" ns2:_="" ns3:_="" ns4:_="">
    <xsd:import namespace="http://schemas.microsoft.com/sharepoint/v3"/>
    <xsd:import namespace="71af3243-3dd4-4a8d-8c0d-dd76da1f02a5"/>
    <xsd:import namespace="16c05727-aa75-4e4a-9b5f-8a80a1165891"/>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element ref="ns1:_ip_UnifiedCompliancePolicyProperties" minOccurs="0"/>
                <xsd:element ref="ns1:_ip_UnifiedCompliancePolicyUIAction" minOccurs="0"/>
                <xsd:element ref="ns2:Image"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element name="Image" ma:index="22" nillable="true" ma:displayName="Image" ma:format="Image" ma:internalName="Image">
      <xsd:complexType>
        <xsd:complexContent>
          <xsd:extension base="dms:URL">
            <xsd:sequence>
              <xsd:element name="Url" type="dms:ValidUrl" minOccurs="0" nillable="true"/>
              <xsd:element name="Description" type="xsd:string" nillable="true"/>
            </xsd:sequence>
          </xsd:extension>
        </xsd:complexContent>
      </xsd:complexType>
    </xsd:element>
    <xsd:element name="lcf76f155ced4ddcb4097134ff3c332f" ma:index="24" nillable="true" ma:taxonomy="true" ma:internalName="lcf76f155ced4ddcb4097134ff3c332f" ma:taxonomyFieldName="MediaServiceAITags" ma:displayName="Image Tags" ma:readOnly="false" ma:fieldId="{5cf76f15-5ced-4ddc-b409-7134ff3c332f}" ma:taxonomyMulti="true" ma:sspId="e385fb40-52d4-4fae-9c5b-3e8ff8a5878e" ma:termSetId="09814cd3-568e-4e90-9814-8d621ff8fb84"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3f6bfcbc-3db3-4ae6-bd76-326f0798ad28}" ma:internalName="TaxCatchAll" ma:showField="CatchAllData" ma:web="16c05727-aa75-4e4a-9b5f-8a80a11658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69C5E83-33D9-4150-939F-50A6208AC3A6}">
  <ds:schemaRefs>
    <ds:schemaRef ds:uri="http://schemas.microsoft.com/office/2006/metadata/properties"/>
    <ds:schemaRef ds:uri="http://schemas.microsoft.com/office/infopath/2007/PartnerControls"/>
    <ds:schemaRef ds:uri="http://schemas.microsoft.com/sharepoint/v3"/>
    <ds:schemaRef ds:uri="71af3243-3dd4-4a8d-8c0d-dd76da1f02a5"/>
    <ds:schemaRef ds:uri="230e9df3-be65-4c73-a93b-d1236ebd677e"/>
  </ds:schemaRefs>
</ds:datastoreItem>
</file>

<file path=customXml/itemProps2.xml><?xml version="1.0" encoding="utf-8"?>
<ds:datastoreItem xmlns:ds="http://schemas.openxmlformats.org/officeDocument/2006/customXml" ds:itemID="{6292DCC9-928C-4FAE-A49E-0F1AC6C10D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1af3243-3dd4-4a8d-8c0d-dd76da1f02a5"/>
    <ds:schemaRef ds:uri="16c05727-aa75-4e4a-9b5f-8a80a1165891"/>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BAAD304-2F93-484D-AB63-54EA4F7407AA}">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contentBits="0" removed="0"/>
</clbl:labelList>
</file>

<file path=docProps/app.xml><?xml version="1.0" encoding="utf-8"?>
<Properties xmlns="http://schemas.openxmlformats.org/officeDocument/2006/extended-properties" xmlns:vt="http://schemas.openxmlformats.org/officeDocument/2006/docPropsVTypes">
  <Template>Funky shapes design</Template>
  <TotalTime>377</TotalTime>
  <Words>902</Words>
  <Application>Microsoft Office PowerPoint</Application>
  <PresentationFormat>Widescreen</PresentationFormat>
  <Paragraphs>71</Paragraphs>
  <Slides>14</Slides>
  <Notes>13</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4</vt:i4>
      </vt:variant>
    </vt:vector>
  </HeadingPairs>
  <TitlesOfParts>
    <vt:vector size="20" baseType="lpstr">
      <vt:lpstr>Arial</vt:lpstr>
      <vt:lpstr>Calibri</vt:lpstr>
      <vt:lpstr>Source Sans Pro</vt:lpstr>
      <vt:lpstr>Source Sans Pro </vt:lpstr>
      <vt:lpstr>Wingdings</vt:lpstr>
      <vt:lpstr>1_FunkyShapesVTI</vt:lpstr>
      <vt:lpstr>CƠ SỞ DỮ LIỆU QUAN HỆ</vt:lpstr>
      <vt:lpstr>Edgar Frank Codd (1923-2003)</vt:lpstr>
      <vt:lpstr>1. Khái niệm CSDL quan hệ</vt:lpstr>
      <vt:lpstr>PowerPoint Presentation</vt:lpstr>
      <vt:lpstr>1. Khái niệm CSDL quan hệ</vt:lpstr>
      <vt:lpstr>2. Một số thuật ngữ, khái niệm liên qua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Ơ SỞ DỮ LIỆU QUAN HỆ</dc:title>
  <dc:creator>VnTeach.Com</dc:creator>
  <cp:keywords>VnTeach.Com</cp:keywords>
  <cp:lastModifiedBy>Admin</cp:lastModifiedBy>
  <cp:revision>1</cp:revision>
  <dcterms:created xsi:type="dcterms:W3CDTF">2023-07-14T08:15:08Z</dcterms:created>
  <dcterms:modified xsi:type="dcterms:W3CDTF">2023-08-25T05:2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y fmtid="{D5CDD505-2E9C-101B-9397-08002B2CF9AE}" pid="3" name="MSIP_Label_defa4170-0d19-0005-0004-bc88714345d2_Enabled">
    <vt:lpwstr>true</vt:lpwstr>
  </property>
  <property fmtid="{D5CDD505-2E9C-101B-9397-08002B2CF9AE}" pid="4" name="MSIP_Label_defa4170-0d19-0005-0004-bc88714345d2_SetDate">
    <vt:lpwstr>2023-07-14T08:15:10Z</vt:lpwstr>
  </property>
  <property fmtid="{D5CDD505-2E9C-101B-9397-08002B2CF9AE}" pid="5" name="MSIP_Label_defa4170-0d19-0005-0004-bc88714345d2_Method">
    <vt:lpwstr>Standard</vt:lpwstr>
  </property>
  <property fmtid="{D5CDD505-2E9C-101B-9397-08002B2CF9AE}" pid="6" name="MSIP_Label_defa4170-0d19-0005-0004-bc88714345d2_Name">
    <vt:lpwstr>defa4170-0d19-0005-0004-bc88714345d2</vt:lpwstr>
  </property>
  <property fmtid="{D5CDD505-2E9C-101B-9397-08002B2CF9AE}" pid="7" name="MSIP_Label_defa4170-0d19-0005-0004-bc88714345d2_SiteId">
    <vt:lpwstr>e39faec7-3053-4cf9-87b4-74c8d7922832</vt:lpwstr>
  </property>
  <property fmtid="{D5CDD505-2E9C-101B-9397-08002B2CF9AE}" pid="8" name="MSIP_Label_defa4170-0d19-0005-0004-bc88714345d2_ActionId">
    <vt:lpwstr>07d00814-d939-48c4-b1b5-00001e85d5eb</vt:lpwstr>
  </property>
  <property fmtid="{D5CDD505-2E9C-101B-9397-08002B2CF9AE}" pid="9" name="MSIP_Label_defa4170-0d19-0005-0004-bc88714345d2_ContentBits">
    <vt:lpwstr>0</vt:lpwstr>
  </property>
</Properties>
</file>